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91" r:id="rId6"/>
    <p:sldId id="367" r:id="rId7"/>
    <p:sldId id="349" r:id="rId8"/>
    <p:sldId id="375" r:id="rId9"/>
    <p:sldId id="285" r:id="rId10"/>
    <p:sldId id="368" r:id="rId11"/>
    <p:sldId id="360" r:id="rId12"/>
    <p:sldId id="370" r:id="rId13"/>
    <p:sldId id="371" r:id="rId14"/>
    <p:sldId id="372" r:id="rId15"/>
    <p:sldId id="373" r:id="rId16"/>
    <p:sldId id="374" r:id="rId17"/>
    <p:sldId id="369" r:id="rId18"/>
    <p:sldId id="377" r:id="rId19"/>
    <p:sldId id="378" r:id="rId20"/>
  </p:sldIdLst>
  <p:sldSz cx="12192000" cy="6858000"/>
  <p:notesSz cx="6858000" cy="9144000"/>
  <p:custDataLst>
    <p:tags r:id="rId2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FE6025-49A0-B7D5-ED2F-AB5959062CFB}" name="Geeske Strating" initials="GS" userId="S::strating@emma.nl::47f94ea9-33eb-44aa-b280-9ac97dd39d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E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70085D-2197-4201-A350-28E255845CE6}" v="796" dt="2025-01-23T08:29:09.822"/>
    <p1510:client id="{F388F5FA-BC04-9B33-99AA-C96ABE5A2B43}" v="70" dt="2025-01-22T13:05:25.366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725" autoAdjust="0"/>
  </p:normalViewPr>
  <p:slideViewPr>
    <p:cSldViewPr snapToGrid="0">
      <p:cViewPr varScale="1">
        <p:scale>
          <a:sx n="77" d="100"/>
          <a:sy n="77" d="100"/>
        </p:scale>
        <p:origin x="88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stgebruiker" userId="S::urn:spo:anon#8a4faf74a8d0433747e01c654e4a03a3672fe1c20c2764a112d95746ea619468::" providerId="AD" clId="Web-{FC6808A3-089C-333C-7442-34A7B0BFECF2}"/>
    <pc:docChg chg="modSld">
      <pc:chgData name="Gastgebruiker" userId="S::urn:spo:anon#8a4faf74a8d0433747e01c654e4a03a3672fe1c20c2764a112d95746ea619468::" providerId="AD" clId="Web-{FC6808A3-089C-333C-7442-34A7B0BFECF2}" dt="2025-01-20T10:47:39.555" v="18" actId="20577"/>
      <pc:docMkLst>
        <pc:docMk/>
      </pc:docMkLst>
      <pc:sldChg chg="addSp modSp">
        <pc:chgData name="Gastgebruiker" userId="S::urn:spo:anon#8a4faf74a8d0433747e01c654e4a03a3672fe1c20c2764a112d95746ea619468::" providerId="AD" clId="Web-{FC6808A3-089C-333C-7442-34A7B0BFECF2}" dt="2025-01-20T10:47:39.555" v="18" actId="20577"/>
        <pc:sldMkLst>
          <pc:docMk/>
          <pc:sldMk cId="2678585382" sldId="375"/>
        </pc:sldMkLst>
        <pc:spChg chg="mod">
          <ac:chgData name="Gastgebruiker" userId="S::urn:spo:anon#8a4faf74a8d0433747e01c654e4a03a3672fe1c20c2764a112d95746ea619468::" providerId="AD" clId="Web-{FC6808A3-089C-333C-7442-34A7B0BFECF2}" dt="2025-01-20T10:47:39.555" v="18" actId="20577"/>
          <ac:spMkLst>
            <pc:docMk/>
            <pc:sldMk cId="2678585382" sldId="375"/>
            <ac:spMk id="4" creationId="{3202337A-672D-F3FC-ADC5-236987799026}"/>
          </ac:spMkLst>
        </pc:spChg>
      </pc:sldChg>
    </pc:docChg>
  </pc:docChgLst>
  <pc:docChgLst>
    <pc:chgData name="Geeske Strating" userId="47f94ea9-33eb-44aa-b280-9ac97dd39d46" providerId="ADAL" clId="{1270085D-2197-4201-A350-28E255845CE6}"/>
    <pc:docChg chg="undo custSel addSld delSld modSld">
      <pc:chgData name="Geeske Strating" userId="47f94ea9-33eb-44aa-b280-9ac97dd39d46" providerId="ADAL" clId="{1270085D-2197-4201-A350-28E255845CE6}" dt="2025-01-23T08:30:26.145" v="1265" actId="14100"/>
      <pc:docMkLst>
        <pc:docMk/>
      </pc:docMkLst>
      <pc:sldChg chg="modSp mod">
        <pc:chgData name="Geeske Strating" userId="47f94ea9-33eb-44aa-b280-9ac97dd39d46" providerId="ADAL" clId="{1270085D-2197-4201-A350-28E255845CE6}" dt="2025-01-23T08:24:53.403" v="1154" actId="20577"/>
        <pc:sldMkLst>
          <pc:docMk/>
          <pc:sldMk cId="1674871487" sldId="285"/>
        </pc:sldMkLst>
        <pc:spChg chg="mod">
          <ac:chgData name="Geeske Strating" userId="47f94ea9-33eb-44aa-b280-9ac97dd39d46" providerId="ADAL" clId="{1270085D-2197-4201-A350-28E255845CE6}" dt="2025-01-23T08:24:53.403" v="1154" actId="20577"/>
          <ac:spMkLst>
            <pc:docMk/>
            <pc:sldMk cId="1674871487" sldId="285"/>
            <ac:spMk id="5" creationId="{4672B032-784A-469F-9365-8517D4C5F61F}"/>
          </ac:spMkLst>
        </pc:spChg>
      </pc:sldChg>
      <pc:sldChg chg="modSp mod">
        <pc:chgData name="Geeske Strating" userId="47f94ea9-33eb-44aa-b280-9ac97dd39d46" providerId="ADAL" clId="{1270085D-2197-4201-A350-28E255845CE6}" dt="2025-01-23T08:22:00.278" v="1112" actId="20577"/>
        <pc:sldMkLst>
          <pc:docMk/>
          <pc:sldMk cId="1711744300" sldId="349"/>
        </pc:sldMkLst>
        <pc:spChg chg="mod">
          <ac:chgData name="Geeske Strating" userId="47f94ea9-33eb-44aa-b280-9ac97dd39d46" providerId="ADAL" clId="{1270085D-2197-4201-A350-28E255845CE6}" dt="2025-01-23T08:22:00.278" v="1112" actId="20577"/>
          <ac:spMkLst>
            <pc:docMk/>
            <pc:sldMk cId="1711744300" sldId="349"/>
            <ac:spMk id="6" creationId="{A08EF91E-08A2-3C40-BD4D-5184F7B4A5CD}"/>
          </ac:spMkLst>
        </pc:spChg>
      </pc:sldChg>
      <pc:sldChg chg="modSp mod">
        <pc:chgData name="Geeske Strating" userId="47f94ea9-33eb-44aa-b280-9ac97dd39d46" providerId="ADAL" clId="{1270085D-2197-4201-A350-28E255845CE6}" dt="2025-01-23T08:25:43.806" v="1165" actId="5793"/>
        <pc:sldMkLst>
          <pc:docMk/>
          <pc:sldMk cId="845205527" sldId="368"/>
        </pc:sldMkLst>
        <pc:spChg chg="mod">
          <ac:chgData name="Geeske Strating" userId="47f94ea9-33eb-44aa-b280-9ac97dd39d46" providerId="ADAL" clId="{1270085D-2197-4201-A350-28E255845CE6}" dt="2025-01-23T08:25:43.806" v="1165" actId="5793"/>
          <ac:spMkLst>
            <pc:docMk/>
            <pc:sldMk cId="845205527" sldId="368"/>
            <ac:spMk id="6" creationId="{3A007405-5299-CE9D-20B4-07AAD653B317}"/>
          </ac:spMkLst>
        </pc:spChg>
      </pc:sldChg>
      <pc:sldChg chg="addSp delSp modSp mod">
        <pc:chgData name="Geeske Strating" userId="47f94ea9-33eb-44aa-b280-9ac97dd39d46" providerId="ADAL" clId="{1270085D-2197-4201-A350-28E255845CE6}" dt="2025-01-23T08:20:19.775" v="1104" actId="20577"/>
        <pc:sldMkLst>
          <pc:docMk/>
          <pc:sldMk cId="1806635925" sldId="369"/>
        </pc:sldMkLst>
        <pc:spChg chg="add mod">
          <ac:chgData name="Geeske Strating" userId="47f94ea9-33eb-44aa-b280-9ac97dd39d46" providerId="ADAL" clId="{1270085D-2197-4201-A350-28E255845CE6}" dt="2025-01-22T13:18:55.591" v="571" actId="20577"/>
          <ac:spMkLst>
            <pc:docMk/>
            <pc:sldMk cId="1806635925" sldId="369"/>
            <ac:spMk id="2" creationId="{6EFD8319-CF85-1007-0D04-B198FBC8B99F}"/>
          </ac:spMkLst>
        </pc:spChg>
        <pc:spChg chg="add mod">
          <ac:chgData name="Geeske Strating" userId="47f94ea9-33eb-44aa-b280-9ac97dd39d46" providerId="ADAL" clId="{1270085D-2197-4201-A350-28E255845CE6}" dt="2025-01-22T13:18:12.635" v="517" actId="20577"/>
          <ac:spMkLst>
            <pc:docMk/>
            <pc:sldMk cId="1806635925" sldId="369"/>
            <ac:spMk id="3" creationId="{6A8E4195-471C-966C-97D5-AD788A335450}"/>
          </ac:spMkLst>
        </pc:spChg>
        <pc:spChg chg="mod">
          <ac:chgData name="Geeske Strating" userId="47f94ea9-33eb-44aa-b280-9ac97dd39d46" providerId="ADAL" clId="{1270085D-2197-4201-A350-28E255845CE6}" dt="2025-01-22T13:18:35.515" v="549" actId="6549"/>
          <ac:spMkLst>
            <pc:docMk/>
            <pc:sldMk cId="1806635925" sldId="369"/>
            <ac:spMk id="4" creationId="{92280282-A0DD-CB6C-7170-527A8180CC81}"/>
          </ac:spMkLst>
        </pc:spChg>
        <pc:spChg chg="add mod">
          <ac:chgData name="Geeske Strating" userId="47f94ea9-33eb-44aa-b280-9ac97dd39d46" providerId="ADAL" clId="{1270085D-2197-4201-A350-28E255845CE6}" dt="2025-01-22T13:11:05.082" v="196" actId="20577"/>
          <ac:spMkLst>
            <pc:docMk/>
            <pc:sldMk cId="1806635925" sldId="369"/>
            <ac:spMk id="5" creationId="{77A12CA5-5DDC-E1CC-FD94-8827C36D5B33}"/>
          </ac:spMkLst>
        </pc:spChg>
        <pc:spChg chg="del mod">
          <ac:chgData name="Geeske Strating" userId="47f94ea9-33eb-44aa-b280-9ac97dd39d46" providerId="ADAL" clId="{1270085D-2197-4201-A350-28E255845CE6}" dt="2025-01-22T13:11:46.692" v="219"/>
          <ac:spMkLst>
            <pc:docMk/>
            <pc:sldMk cId="1806635925" sldId="369"/>
            <ac:spMk id="6" creationId="{DEA26478-D45E-BADF-C659-B2723DD9FC82}"/>
          </ac:spMkLst>
        </pc:spChg>
        <pc:spChg chg="add mod">
          <ac:chgData name="Geeske Strating" userId="47f94ea9-33eb-44aa-b280-9ac97dd39d46" providerId="ADAL" clId="{1270085D-2197-4201-A350-28E255845CE6}" dt="2025-01-22T13:09:00.813" v="113" actId="20577"/>
          <ac:spMkLst>
            <pc:docMk/>
            <pc:sldMk cId="1806635925" sldId="369"/>
            <ac:spMk id="7" creationId="{310C97C5-B184-D077-B3BD-828E00656E3F}"/>
          </ac:spMkLst>
        </pc:spChg>
        <pc:spChg chg="add mod">
          <ac:chgData name="Geeske Strating" userId="47f94ea9-33eb-44aa-b280-9ac97dd39d46" providerId="ADAL" clId="{1270085D-2197-4201-A350-28E255845CE6}" dt="2025-01-22T13:13:09.691" v="228" actId="20577"/>
          <ac:spMkLst>
            <pc:docMk/>
            <pc:sldMk cId="1806635925" sldId="369"/>
            <ac:spMk id="8" creationId="{F099A4DB-26A7-FAAF-E2EA-901C6F265925}"/>
          </ac:spMkLst>
        </pc:spChg>
        <pc:spChg chg="add mod">
          <ac:chgData name="Geeske Strating" userId="47f94ea9-33eb-44aa-b280-9ac97dd39d46" providerId="ADAL" clId="{1270085D-2197-4201-A350-28E255845CE6}" dt="2025-01-22T13:09:33.259" v="146" actId="1076"/>
          <ac:spMkLst>
            <pc:docMk/>
            <pc:sldMk cId="1806635925" sldId="369"/>
            <ac:spMk id="9" creationId="{92FA093B-F4E1-8EED-CBF2-2A6B89B153A0}"/>
          </ac:spMkLst>
        </pc:spChg>
        <pc:spChg chg="add mod">
          <ac:chgData name="Geeske Strating" userId="47f94ea9-33eb-44aa-b280-9ac97dd39d46" providerId="ADAL" clId="{1270085D-2197-4201-A350-28E255845CE6}" dt="2025-01-23T08:15:39.437" v="997" actId="1076"/>
          <ac:spMkLst>
            <pc:docMk/>
            <pc:sldMk cId="1806635925" sldId="369"/>
            <ac:spMk id="10" creationId="{9EFC2B26-4180-344E-5D04-A112A1155B30}"/>
          </ac:spMkLst>
        </pc:spChg>
        <pc:spChg chg="add mod">
          <ac:chgData name="Geeske Strating" userId="47f94ea9-33eb-44aa-b280-9ac97dd39d46" providerId="ADAL" clId="{1270085D-2197-4201-A350-28E255845CE6}" dt="2025-01-22T13:17:14.380" v="466" actId="1076"/>
          <ac:spMkLst>
            <pc:docMk/>
            <pc:sldMk cId="1806635925" sldId="369"/>
            <ac:spMk id="11" creationId="{05DC37F3-395B-CE48-93B2-6F07458D1D33}"/>
          </ac:spMkLst>
        </pc:spChg>
        <pc:spChg chg="add mod">
          <ac:chgData name="Geeske Strating" userId="47f94ea9-33eb-44aa-b280-9ac97dd39d46" providerId="ADAL" clId="{1270085D-2197-4201-A350-28E255845CE6}" dt="2025-01-23T08:15:31.710" v="996" actId="1076"/>
          <ac:spMkLst>
            <pc:docMk/>
            <pc:sldMk cId="1806635925" sldId="369"/>
            <ac:spMk id="12" creationId="{C5DC51B5-BEE9-1F96-94F8-52708368B773}"/>
          </ac:spMkLst>
        </pc:spChg>
        <pc:spChg chg="add mod">
          <ac:chgData name="Geeske Strating" userId="47f94ea9-33eb-44aa-b280-9ac97dd39d46" providerId="ADAL" clId="{1270085D-2197-4201-A350-28E255845CE6}" dt="2025-01-23T08:15:23.330" v="994" actId="1076"/>
          <ac:spMkLst>
            <pc:docMk/>
            <pc:sldMk cId="1806635925" sldId="369"/>
            <ac:spMk id="13" creationId="{DCB24D3E-3125-B578-E097-598A2A3BEBEE}"/>
          </ac:spMkLst>
        </pc:spChg>
        <pc:spChg chg="add mod">
          <ac:chgData name="Geeske Strating" userId="47f94ea9-33eb-44aa-b280-9ac97dd39d46" providerId="ADAL" clId="{1270085D-2197-4201-A350-28E255845CE6}" dt="2025-01-23T08:15:55.246" v="999" actId="1076"/>
          <ac:spMkLst>
            <pc:docMk/>
            <pc:sldMk cId="1806635925" sldId="369"/>
            <ac:spMk id="14" creationId="{7540D09E-6906-0C65-A813-AC2220DE8CBA}"/>
          </ac:spMkLst>
        </pc:spChg>
        <pc:spChg chg="add mod">
          <ac:chgData name="Geeske Strating" userId="47f94ea9-33eb-44aa-b280-9ac97dd39d46" providerId="ADAL" clId="{1270085D-2197-4201-A350-28E255845CE6}" dt="2025-01-23T08:16:04.861" v="1000" actId="1076"/>
          <ac:spMkLst>
            <pc:docMk/>
            <pc:sldMk cId="1806635925" sldId="369"/>
            <ac:spMk id="15" creationId="{730D198C-8104-E72A-D24B-0F1C0D40C0F0}"/>
          </ac:spMkLst>
        </pc:spChg>
        <pc:spChg chg="add mod">
          <ac:chgData name="Geeske Strating" userId="47f94ea9-33eb-44aa-b280-9ac97dd39d46" providerId="ADAL" clId="{1270085D-2197-4201-A350-28E255845CE6}" dt="2025-01-23T08:19:48.087" v="1094" actId="1076"/>
          <ac:spMkLst>
            <pc:docMk/>
            <pc:sldMk cId="1806635925" sldId="369"/>
            <ac:spMk id="16" creationId="{985ADF12-2297-B5C9-8239-6B25BB573EDC}"/>
          </ac:spMkLst>
        </pc:spChg>
        <pc:spChg chg="add del">
          <ac:chgData name="Geeske Strating" userId="47f94ea9-33eb-44aa-b280-9ac97dd39d46" providerId="ADAL" clId="{1270085D-2197-4201-A350-28E255845CE6}" dt="2025-01-23T08:17:59.041" v="1045" actId="11529"/>
          <ac:spMkLst>
            <pc:docMk/>
            <pc:sldMk cId="1806635925" sldId="369"/>
            <ac:spMk id="17" creationId="{5837881C-70DB-B11B-985E-0B20E0D0A2E5}"/>
          </ac:spMkLst>
        </pc:spChg>
        <pc:spChg chg="add mod">
          <ac:chgData name="Geeske Strating" userId="47f94ea9-33eb-44aa-b280-9ac97dd39d46" providerId="ADAL" clId="{1270085D-2197-4201-A350-28E255845CE6}" dt="2025-01-23T08:20:19.775" v="1104" actId="20577"/>
          <ac:spMkLst>
            <pc:docMk/>
            <pc:sldMk cId="1806635925" sldId="369"/>
            <ac:spMk id="18" creationId="{4560DACD-4AA4-36B0-5F50-EE08C61CB2CC}"/>
          </ac:spMkLst>
        </pc:spChg>
      </pc:sldChg>
      <pc:sldChg chg="addSp delSp modSp mod">
        <pc:chgData name="Geeske Strating" userId="47f94ea9-33eb-44aa-b280-9ac97dd39d46" providerId="ADAL" clId="{1270085D-2197-4201-A350-28E255845CE6}" dt="2025-01-23T08:24:04.823" v="1142" actId="20577"/>
        <pc:sldMkLst>
          <pc:docMk/>
          <pc:sldMk cId="2678585382" sldId="375"/>
        </pc:sldMkLst>
        <pc:spChg chg="mod">
          <ac:chgData name="Geeske Strating" userId="47f94ea9-33eb-44aa-b280-9ac97dd39d46" providerId="ADAL" clId="{1270085D-2197-4201-A350-28E255845CE6}" dt="2025-01-22T13:25:36.062" v="791" actId="403"/>
          <ac:spMkLst>
            <pc:docMk/>
            <pc:sldMk cId="2678585382" sldId="375"/>
            <ac:spMk id="5" creationId="{A823F88A-6FC7-8025-126D-01EC5AD909F3}"/>
          </ac:spMkLst>
        </pc:spChg>
        <pc:spChg chg="del mod">
          <ac:chgData name="Geeske Strating" userId="47f94ea9-33eb-44aa-b280-9ac97dd39d46" providerId="ADAL" clId="{1270085D-2197-4201-A350-28E255845CE6}" dt="2025-01-22T13:24:37.370" v="779" actId="478"/>
          <ac:spMkLst>
            <pc:docMk/>
            <pc:sldMk cId="2678585382" sldId="375"/>
            <ac:spMk id="6" creationId="{9338B738-6D6E-5E30-DE04-7E82818F5933}"/>
          </ac:spMkLst>
        </pc:spChg>
        <pc:spChg chg="add mod">
          <ac:chgData name="Geeske Strating" userId="47f94ea9-33eb-44aa-b280-9ac97dd39d46" providerId="ADAL" clId="{1270085D-2197-4201-A350-28E255845CE6}" dt="2025-01-23T08:23:58.023" v="1137" actId="20577"/>
          <ac:spMkLst>
            <pc:docMk/>
            <pc:sldMk cId="2678585382" sldId="375"/>
            <ac:spMk id="7" creationId="{53572E31-5923-58DE-1330-0C623D5648F5}"/>
          </ac:spMkLst>
        </pc:spChg>
        <pc:spChg chg="add mod">
          <ac:chgData name="Geeske Strating" userId="47f94ea9-33eb-44aa-b280-9ac97dd39d46" providerId="ADAL" clId="{1270085D-2197-4201-A350-28E255845CE6}" dt="2025-01-23T08:23:59.604" v="1138" actId="20577"/>
          <ac:spMkLst>
            <pc:docMk/>
            <pc:sldMk cId="2678585382" sldId="375"/>
            <ac:spMk id="8" creationId="{E0CE0277-16C6-3174-8BBB-57CE68230D9F}"/>
          </ac:spMkLst>
        </pc:spChg>
        <pc:spChg chg="add mod">
          <ac:chgData name="Geeske Strating" userId="47f94ea9-33eb-44aa-b280-9ac97dd39d46" providerId="ADAL" clId="{1270085D-2197-4201-A350-28E255845CE6}" dt="2025-01-23T08:24:01.236" v="1139" actId="20577"/>
          <ac:spMkLst>
            <pc:docMk/>
            <pc:sldMk cId="2678585382" sldId="375"/>
            <ac:spMk id="9" creationId="{44FA6D2E-AA8D-38E5-6CD7-FA23544B338B}"/>
          </ac:spMkLst>
        </pc:spChg>
        <pc:spChg chg="add mod">
          <ac:chgData name="Geeske Strating" userId="47f94ea9-33eb-44aa-b280-9ac97dd39d46" providerId="ADAL" clId="{1270085D-2197-4201-A350-28E255845CE6}" dt="2025-01-23T08:24:02.367" v="1140" actId="20577"/>
          <ac:spMkLst>
            <pc:docMk/>
            <pc:sldMk cId="2678585382" sldId="375"/>
            <ac:spMk id="10" creationId="{61DB88BC-062D-75E0-F0D9-33D845731760}"/>
          </ac:spMkLst>
        </pc:spChg>
        <pc:spChg chg="add mod">
          <ac:chgData name="Geeske Strating" userId="47f94ea9-33eb-44aa-b280-9ac97dd39d46" providerId="ADAL" clId="{1270085D-2197-4201-A350-28E255845CE6}" dt="2025-01-23T08:24:03.644" v="1141" actId="20577"/>
          <ac:spMkLst>
            <pc:docMk/>
            <pc:sldMk cId="2678585382" sldId="375"/>
            <ac:spMk id="11" creationId="{3B663054-D48D-937E-9FD3-23C7472640ED}"/>
          </ac:spMkLst>
        </pc:spChg>
        <pc:spChg chg="add mod">
          <ac:chgData name="Geeske Strating" userId="47f94ea9-33eb-44aa-b280-9ac97dd39d46" providerId="ADAL" clId="{1270085D-2197-4201-A350-28E255845CE6}" dt="2025-01-23T08:24:04.823" v="1142" actId="20577"/>
          <ac:spMkLst>
            <pc:docMk/>
            <pc:sldMk cId="2678585382" sldId="375"/>
            <ac:spMk id="12" creationId="{9F5BD9E2-9989-E064-1A6B-B34980E82322}"/>
          </ac:spMkLst>
        </pc:spChg>
      </pc:sldChg>
      <pc:sldChg chg="new del">
        <pc:chgData name="Geeske Strating" userId="47f94ea9-33eb-44aa-b280-9ac97dd39d46" providerId="ADAL" clId="{1270085D-2197-4201-A350-28E255845CE6}" dt="2025-01-22T13:34:52.315" v="993" actId="2696"/>
        <pc:sldMkLst>
          <pc:docMk/>
          <pc:sldMk cId="2527057158" sldId="376"/>
        </pc:sldMkLst>
      </pc:sldChg>
      <pc:sldChg chg="addSp delSp modSp add mod">
        <pc:chgData name="Geeske Strating" userId="47f94ea9-33eb-44aa-b280-9ac97dd39d46" providerId="ADAL" clId="{1270085D-2197-4201-A350-28E255845CE6}" dt="2025-01-23T08:27:01.731" v="1169" actId="20577"/>
        <pc:sldMkLst>
          <pc:docMk/>
          <pc:sldMk cId="3848088417" sldId="377"/>
        </pc:sldMkLst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2" creationId="{B1662D27-3E23-286F-89C9-B76E71A2C0D2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3" creationId="{F34E4B40-2EED-2019-C8DA-DD7E122E8093}"/>
          </ac:spMkLst>
        </pc:spChg>
        <pc:spChg chg="mod">
          <ac:chgData name="Geeske Strating" userId="47f94ea9-33eb-44aa-b280-9ac97dd39d46" providerId="ADAL" clId="{1270085D-2197-4201-A350-28E255845CE6}" dt="2025-01-22T13:29:04.377" v="882" actId="20577"/>
          <ac:spMkLst>
            <pc:docMk/>
            <pc:sldMk cId="3848088417" sldId="377"/>
            <ac:spMk id="4" creationId="{6E460D7A-3056-9008-8A85-903E83400E19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5" creationId="{D42DF13B-2CA0-965E-4679-4BDD621AEB9A}"/>
          </ac:spMkLst>
        </pc:spChg>
        <pc:spChg chg="add mod">
          <ac:chgData name="Geeske Strating" userId="47f94ea9-33eb-44aa-b280-9ac97dd39d46" providerId="ADAL" clId="{1270085D-2197-4201-A350-28E255845CE6}" dt="2025-01-23T08:27:01.731" v="1169" actId="20577"/>
          <ac:spMkLst>
            <pc:docMk/>
            <pc:sldMk cId="3848088417" sldId="377"/>
            <ac:spMk id="6" creationId="{C98DC044-9650-05F0-F172-425709D33741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7" creationId="{DC769CF2-E9E7-5573-538D-CEB91934C856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8" creationId="{9C38CF35-5F15-BF12-EB98-ECDAF2046F21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0" creationId="{B0801EE5-5FF4-6C8E-86AB-13B7081F88E8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1" creationId="{7423EA2A-1FF1-BD4D-26E7-CD25DCA9F877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2" creationId="{B881D41E-3489-AB46-9ABC-3263C23126F7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3" creationId="{FF762C36-BB7D-71B3-E185-3CE2A19931AC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4" creationId="{D17E7506-55B3-B5DF-4E72-442F75AA3B07}"/>
          </ac:spMkLst>
        </pc:spChg>
        <pc:spChg chg="del">
          <ac:chgData name="Geeske Strating" userId="47f94ea9-33eb-44aa-b280-9ac97dd39d46" providerId="ADAL" clId="{1270085D-2197-4201-A350-28E255845CE6}" dt="2025-01-22T13:27:18.418" v="804" actId="478"/>
          <ac:spMkLst>
            <pc:docMk/>
            <pc:sldMk cId="3848088417" sldId="377"/>
            <ac:spMk id="15" creationId="{8376BAE6-34E0-675D-920E-03296DB76E80}"/>
          </ac:spMkLst>
        </pc:spChg>
        <pc:spChg chg="add mod">
          <ac:chgData name="Geeske Strating" userId="47f94ea9-33eb-44aa-b280-9ac97dd39d46" providerId="ADAL" clId="{1270085D-2197-4201-A350-28E255845CE6}" dt="2025-01-22T13:30:34.237" v="934" actId="1076"/>
          <ac:spMkLst>
            <pc:docMk/>
            <pc:sldMk cId="3848088417" sldId="377"/>
            <ac:spMk id="16" creationId="{E4649D48-DFF8-8A97-6757-12C819182E1F}"/>
          </ac:spMkLst>
        </pc:spChg>
        <pc:picChg chg="add mod">
          <ac:chgData name="Geeske Strating" userId="47f94ea9-33eb-44aa-b280-9ac97dd39d46" providerId="ADAL" clId="{1270085D-2197-4201-A350-28E255845CE6}" dt="2025-01-23T08:26:34.334" v="1167" actId="1076"/>
          <ac:picMkLst>
            <pc:docMk/>
            <pc:sldMk cId="3848088417" sldId="377"/>
            <ac:picMk id="9" creationId="{F67925FB-936D-E745-4014-1AF3266E7FA0}"/>
          </ac:picMkLst>
        </pc:picChg>
      </pc:sldChg>
      <pc:sldChg chg="addSp delSp modSp add mod">
        <pc:chgData name="Geeske Strating" userId="47f94ea9-33eb-44aa-b280-9ac97dd39d46" providerId="ADAL" clId="{1270085D-2197-4201-A350-28E255845CE6}" dt="2025-01-23T08:30:26.145" v="1265" actId="14100"/>
        <pc:sldMkLst>
          <pc:docMk/>
          <pc:sldMk cId="2584290181" sldId="378"/>
        </pc:sldMkLst>
        <pc:spChg chg="add mod">
          <ac:chgData name="Geeske Strating" userId="47f94ea9-33eb-44aa-b280-9ac97dd39d46" providerId="ADAL" clId="{1270085D-2197-4201-A350-28E255845CE6}" dt="2025-01-23T08:30:26.145" v="1265" actId="14100"/>
          <ac:spMkLst>
            <pc:docMk/>
            <pc:sldMk cId="2584290181" sldId="378"/>
            <ac:spMk id="3" creationId="{A69D21F2-54CD-96FB-2F21-517DE2624CB8}"/>
          </ac:spMkLst>
        </pc:spChg>
        <pc:spChg chg="mod">
          <ac:chgData name="Geeske Strating" userId="47f94ea9-33eb-44aa-b280-9ac97dd39d46" providerId="ADAL" clId="{1270085D-2197-4201-A350-28E255845CE6}" dt="2025-01-23T08:27:24.941" v="1179" actId="20577"/>
          <ac:spMkLst>
            <pc:docMk/>
            <pc:sldMk cId="2584290181" sldId="378"/>
            <ac:spMk id="4" creationId="{797F284E-0BD5-6083-3AEE-614DB6F5FCD7}"/>
          </ac:spMkLst>
        </pc:spChg>
        <pc:spChg chg="del mod">
          <ac:chgData name="Geeske Strating" userId="47f94ea9-33eb-44aa-b280-9ac97dd39d46" providerId="ADAL" clId="{1270085D-2197-4201-A350-28E255845CE6}" dt="2025-01-23T08:27:33.374" v="1184"/>
          <ac:spMkLst>
            <pc:docMk/>
            <pc:sldMk cId="2584290181" sldId="378"/>
            <ac:spMk id="6" creationId="{BED22038-67E8-5787-A6CF-4CF9FD8AC71F}"/>
          </ac:spMkLst>
        </pc:spChg>
        <pc:spChg chg="del">
          <ac:chgData name="Geeske Strating" userId="47f94ea9-33eb-44aa-b280-9ac97dd39d46" providerId="ADAL" clId="{1270085D-2197-4201-A350-28E255845CE6}" dt="2025-01-23T08:27:33.374" v="1182" actId="478"/>
          <ac:spMkLst>
            <pc:docMk/>
            <pc:sldMk cId="2584290181" sldId="378"/>
            <ac:spMk id="16" creationId="{6B9910EB-60AE-93A5-6D01-20705C95297A}"/>
          </ac:spMkLst>
        </pc:spChg>
        <pc:picChg chg="add mod">
          <ac:chgData name="Geeske Strating" userId="47f94ea9-33eb-44aa-b280-9ac97dd39d46" providerId="ADAL" clId="{1270085D-2197-4201-A350-28E255845CE6}" dt="2025-01-23T08:29:56.881" v="1238" actId="1076"/>
          <ac:picMkLst>
            <pc:docMk/>
            <pc:sldMk cId="2584290181" sldId="378"/>
            <ac:picMk id="2" creationId="{D386559F-2BF2-9DA8-6659-C244EEB1D9A0}"/>
          </ac:picMkLst>
        </pc:picChg>
        <pc:picChg chg="del">
          <ac:chgData name="Geeske Strating" userId="47f94ea9-33eb-44aa-b280-9ac97dd39d46" providerId="ADAL" clId="{1270085D-2197-4201-A350-28E255845CE6}" dt="2025-01-23T08:27:28.060" v="1180" actId="478"/>
          <ac:picMkLst>
            <pc:docMk/>
            <pc:sldMk cId="2584290181" sldId="378"/>
            <ac:picMk id="9" creationId="{2331A03E-7A8B-7505-006F-DCF24540E8A6}"/>
          </ac:picMkLst>
        </pc:picChg>
      </pc:sldChg>
    </pc:docChg>
  </pc:docChgLst>
  <pc:docChgLst>
    <pc:chgData name="Geeske Strating" userId="47f94ea9-33eb-44aa-b280-9ac97dd39d46" providerId="ADAL" clId="{1F9279CA-8456-4692-B71A-25D2B874B490}"/>
    <pc:docChg chg="undo custSel addSld delSld modSld sldOrd">
      <pc:chgData name="Geeske Strating" userId="47f94ea9-33eb-44aa-b280-9ac97dd39d46" providerId="ADAL" clId="{1F9279CA-8456-4692-B71A-25D2B874B490}" dt="2025-01-06T12:48:01.471" v="2622" actId="20577"/>
      <pc:docMkLst>
        <pc:docMk/>
      </pc:docMkLst>
      <pc:sldChg chg="addSp modSp mod">
        <pc:chgData name="Geeske Strating" userId="47f94ea9-33eb-44aa-b280-9ac97dd39d46" providerId="ADAL" clId="{1F9279CA-8456-4692-B71A-25D2B874B490}" dt="2024-12-18T09:29:37.863" v="101" actId="20577"/>
        <pc:sldMkLst>
          <pc:docMk/>
          <pc:sldMk cId="869800411" sldId="256"/>
        </pc:sldMkLst>
        <pc:spChg chg="add mod">
          <ac:chgData name="Geeske Strating" userId="47f94ea9-33eb-44aa-b280-9ac97dd39d46" providerId="ADAL" clId="{1F9279CA-8456-4692-B71A-25D2B874B490}" dt="2024-12-18T09:27:48.138" v="86" actId="6549"/>
          <ac:spMkLst>
            <pc:docMk/>
            <pc:sldMk cId="869800411" sldId="256"/>
            <ac:spMk id="2" creationId="{B7B1D488-A81A-845B-C038-413C7F9D6A85}"/>
          </ac:spMkLst>
        </pc:spChg>
        <pc:spChg chg="mod">
          <ac:chgData name="Geeske Strating" userId="47f94ea9-33eb-44aa-b280-9ac97dd39d46" providerId="ADAL" clId="{1F9279CA-8456-4692-B71A-25D2B874B490}" dt="2024-12-18T09:24:04.201" v="19" actId="20577"/>
          <ac:spMkLst>
            <pc:docMk/>
            <pc:sldMk cId="869800411" sldId="256"/>
            <ac:spMk id="3" creationId="{6447BCD5-E6AC-999C-B7D7-7F7F5E10E3E5}"/>
          </ac:spMkLst>
        </pc:spChg>
        <pc:spChg chg="mod">
          <ac:chgData name="Geeske Strating" userId="47f94ea9-33eb-44aa-b280-9ac97dd39d46" providerId="ADAL" clId="{1F9279CA-8456-4692-B71A-25D2B874B490}" dt="2024-12-18T09:29:37.863" v="101" actId="20577"/>
          <ac:spMkLst>
            <pc:docMk/>
            <pc:sldMk cId="869800411" sldId="256"/>
            <ac:spMk id="4" creationId="{0D466733-98AA-E6F5-DC0C-A1A25412C70F}"/>
          </ac:spMkLst>
        </pc:spChg>
      </pc:sldChg>
      <pc:sldChg chg="addSp delSp modSp mod modClrScheme chgLayout modNotesTx">
        <pc:chgData name="Geeske Strating" userId="47f94ea9-33eb-44aa-b280-9ac97dd39d46" providerId="ADAL" clId="{1F9279CA-8456-4692-B71A-25D2B874B490}" dt="2024-12-18T11:30:11.442" v="1979" actId="6549"/>
        <pc:sldMkLst>
          <pc:docMk/>
          <pc:sldMk cId="1674871487" sldId="285"/>
        </pc:sldMkLst>
        <pc:spChg chg="mod">
          <ac:chgData name="Geeske Strating" userId="47f94ea9-33eb-44aa-b280-9ac97dd39d46" providerId="ADAL" clId="{1F9279CA-8456-4692-B71A-25D2B874B490}" dt="2024-12-18T10:07:24.802" v="1252" actId="26606"/>
          <ac:spMkLst>
            <pc:docMk/>
            <pc:sldMk cId="1674871487" sldId="285"/>
            <ac:spMk id="3" creationId="{7C8B3577-E9D6-4A53-8B9A-A42013778119}"/>
          </ac:spMkLst>
        </pc:spChg>
        <pc:spChg chg="mod">
          <ac:chgData name="Geeske Strating" userId="47f94ea9-33eb-44aa-b280-9ac97dd39d46" providerId="ADAL" clId="{1F9279CA-8456-4692-B71A-25D2B874B490}" dt="2024-12-18T10:07:24.802" v="1252" actId="26606"/>
          <ac:spMkLst>
            <pc:docMk/>
            <pc:sldMk cId="1674871487" sldId="285"/>
            <ac:spMk id="4" creationId="{C87E0C0D-D193-4758-B0DE-1843DBA42C49}"/>
          </ac:spMkLst>
        </pc:spChg>
        <pc:spChg chg="mod ord">
          <ac:chgData name="Geeske Strating" userId="47f94ea9-33eb-44aa-b280-9ac97dd39d46" providerId="ADAL" clId="{1F9279CA-8456-4692-B71A-25D2B874B490}" dt="2024-12-18T10:07:24.802" v="1252" actId="26606"/>
          <ac:spMkLst>
            <pc:docMk/>
            <pc:sldMk cId="1674871487" sldId="285"/>
            <ac:spMk id="5" creationId="{4672B032-784A-469F-9365-8517D4C5F61F}"/>
          </ac:spMkLst>
        </pc:spChg>
        <pc:spChg chg="mod">
          <ac:chgData name="Geeske Strating" userId="47f94ea9-33eb-44aa-b280-9ac97dd39d46" providerId="ADAL" clId="{1F9279CA-8456-4692-B71A-25D2B874B490}" dt="2024-12-18T10:07:24.802" v="1252" actId="26606"/>
          <ac:spMkLst>
            <pc:docMk/>
            <pc:sldMk cId="1674871487" sldId="285"/>
            <ac:spMk id="14" creationId="{D737B896-B2F3-4129-992B-D3EA1A65808F}"/>
          </ac:spMkLst>
        </pc:spChg>
        <pc:picChg chg="add del">
          <ac:chgData name="Geeske Strating" userId="47f94ea9-33eb-44aa-b280-9ac97dd39d46" providerId="ADAL" clId="{1F9279CA-8456-4692-B71A-25D2B874B490}" dt="2024-12-18T10:07:55.103" v="1254" actId="478"/>
          <ac:picMkLst>
            <pc:docMk/>
            <pc:sldMk cId="1674871487" sldId="285"/>
            <ac:picMk id="16" creationId="{443BE5F8-45AD-8DDC-28C0-4FAC77210060}"/>
          </ac:picMkLst>
        </pc:picChg>
      </pc:sldChg>
      <pc:sldChg chg="modSp mod ord modNotesTx">
        <pc:chgData name="Geeske Strating" userId="47f94ea9-33eb-44aa-b280-9ac97dd39d46" providerId="ADAL" clId="{1F9279CA-8456-4692-B71A-25D2B874B490}" dt="2024-12-18T11:30:25.399" v="1981" actId="6549"/>
        <pc:sldMkLst>
          <pc:docMk/>
          <pc:sldMk cId="1848100110" sldId="291"/>
        </pc:sldMkLst>
        <pc:spChg chg="mod">
          <ac:chgData name="Geeske Strating" userId="47f94ea9-33eb-44aa-b280-9ac97dd39d46" providerId="ADAL" clId="{1F9279CA-8456-4692-B71A-25D2B874B490}" dt="2024-12-18T09:40:22.287" v="298" actId="403"/>
          <ac:spMkLst>
            <pc:docMk/>
            <pc:sldMk cId="1848100110" sldId="291"/>
            <ac:spMk id="2" creationId="{E1C058D3-72EC-471D-A575-12F71905C42F}"/>
          </ac:spMkLst>
        </pc:spChg>
      </pc:sldChg>
      <pc:sldChg chg="modSp mod modNotesTx">
        <pc:chgData name="Geeske Strating" userId="47f94ea9-33eb-44aa-b280-9ac97dd39d46" providerId="ADAL" clId="{1F9279CA-8456-4692-B71A-25D2B874B490}" dt="2024-12-18T11:30:16.140" v="1980" actId="6549"/>
        <pc:sldMkLst>
          <pc:docMk/>
          <pc:sldMk cId="1711744300" sldId="349"/>
        </pc:sldMkLst>
        <pc:spChg chg="mod">
          <ac:chgData name="Geeske Strating" userId="47f94ea9-33eb-44aa-b280-9ac97dd39d46" providerId="ADAL" clId="{1F9279CA-8456-4692-B71A-25D2B874B490}" dt="2024-12-18T09:55:27.564" v="749" actId="20577"/>
          <ac:spMkLst>
            <pc:docMk/>
            <pc:sldMk cId="1711744300" sldId="349"/>
            <ac:spMk id="4" creationId="{256E9807-B7DA-E84F-ADF4-9A052EAB3BB5}"/>
          </ac:spMkLst>
        </pc:spChg>
        <pc:spChg chg="mod">
          <ac:chgData name="Geeske Strating" userId="47f94ea9-33eb-44aa-b280-9ac97dd39d46" providerId="ADAL" clId="{1F9279CA-8456-4692-B71A-25D2B874B490}" dt="2024-12-18T10:06:06.122" v="1243" actId="20577"/>
          <ac:spMkLst>
            <pc:docMk/>
            <pc:sldMk cId="1711744300" sldId="349"/>
            <ac:spMk id="6" creationId="{A08EF91E-08A2-3C40-BD4D-5184F7B4A5CD}"/>
          </ac:spMkLst>
        </pc:spChg>
      </pc:sldChg>
      <pc:sldChg chg="del">
        <pc:chgData name="Geeske Strating" userId="47f94ea9-33eb-44aa-b280-9ac97dd39d46" providerId="ADAL" clId="{1F9279CA-8456-4692-B71A-25D2B874B490}" dt="2024-12-18T11:30:59.197" v="1990" actId="47"/>
        <pc:sldMkLst>
          <pc:docMk/>
          <pc:sldMk cId="1261502883" sldId="350"/>
        </pc:sldMkLst>
      </pc:sldChg>
      <pc:sldChg chg="del">
        <pc:chgData name="Geeske Strating" userId="47f94ea9-33eb-44aa-b280-9ac97dd39d46" providerId="ADAL" clId="{1F9279CA-8456-4692-B71A-25D2B874B490}" dt="2024-12-18T11:30:56.461" v="1987" actId="47"/>
        <pc:sldMkLst>
          <pc:docMk/>
          <pc:sldMk cId="1761109665" sldId="351"/>
        </pc:sldMkLst>
      </pc:sldChg>
      <pc:sldChg chg="del">
        <pc:chgData name="Geeske Strating" userId="47f94ea9-33eb-44aa-b280-9ac97dd39d46" providerId="ADAL" clId="{1F9279CA-8456-4692-B71A-25D2B874B490}" dt="2024-12-18T11:30:57.248" v="1988" actId="47"/>
        <pc:sldMkLst>
          <pc:docMk/>
          <pc:sldMk cId="184773039" sldId="359"/>
        </pc:sldMkLst>
      </pc:sldChg>
      <pc:sldChg chg="addSp delSp modSp mod ord modNotesTx">
        <pc:chgData name="Geeske Strating" userId="47f94ea9-33eb-44aa-b280-9ac97dd39d46" providerId="ADAL" clId="{1F9279CA-8456-4692-B71A-25D2B874B490}" dt="2024-12-18T11:30:04.366" v="1978" actId="6549"/>
        <pc:sldMkLst>
          <pc:docMk/>
          <pc:sldMk cId="3264939838" sldId="360"/>
        </pc:sldMkLst>
        <pc:spChg chg="mod">
          <ac:chgData name="Geeske Strating" userId="47f94ea9-33eb-44aa-b280-9ac97dd39d46" providerId="ADAL" clId="{1F9279CA-8456-4692-B71A-25D2B874B490}" dt="2024-12-18T10:09:00.429" v="1279" actId="20577"/>
          <ac:spMkLst>
            <pc:docMk/>
            <pc:sldMk cId="3264939838" sldId="360"/>
            <ac:spMk id="4" creationId="{256E9807-B7DA-E84F-ADF4-9A052EAB3BB5}"/>
          </ac:spMkLst>
        </pc:spChg>
        <pc:spChg chg="add mod">
          <ac:chgData name="Geeske Strating" userId="47f94ea9-33eb-44aa-b280-9ac97dd39d46" providerId="ADAL" clId="{1F9279CA-8456-4692-B71A-25D2B874B490}" dt="2024-12-18T10:23:54.452" v="1749" actId="164"/>
          <ac:spMkLst>
            <pc:docMk/>
            <pc:sldMk cId="3264939838" sldId="360"/>
            <ac:spMk id="20" creationId="{02A7ED7C-A153-AB57-E761-A44B2478888D}"/>
          </ac:spMkLst>
        </pc:spChg>
        <pc:spChg chg="add mod">
          <ac:chgData name="Geeske Strating" userId="47f94ea9-33eb-44aa-b280-9ac97dd39d46" providerId="ADAL" clId="{1F9279CA-8456-4692-B71A-25D2B874B490}" dt="2024-12-18T10:23:54.452" v="1749" actId="164"/>
          <ac:spMkLst>
            <pc:docMk/>
            <pc:sldMk cId="3264939838" sldId="360"/>
            <ac:spMk id="21" creationId="{0711262C-4735-A1BF-A6C6-7B3980FA9167}"/>
          </ac:spMkLst>
        </pc:spChg>
        <pc:spChg chg="add mod">
          <ac:chgData name="Geeske Strating" userId="47f94ea9-33eb-44aa-b280-9ac97dd39d46" providerId="ADAL" clId="{1F9279CA-8456-4692-B71A-25D2B874B490}" dt="2024-12-18T10:23:54.452" v="1749" actId="164"/>
          <ac:spMkLst>
            <pc:docMk/>
            <pc:sldMk cId="3264939838" sldId="360"/>
            <ac:spMk id="22" creationId="{45D2A40B-7670-982D-8E45-9872543F3155}"/>
          </ac:spMkLst>
        </pc:spChg>
        <pc:spChg chg="add mod">
          <ac:chgData name="Geeske Strating" userId="47f94ea9-33eb-44aa-b280-9ac97dd39d46" providerId="ADAL" clId="{1F9279CA-8456-4692-B71A-25D2B874B490}" dt="2024-12-18T10:23:54.452" v="1749" actId="164"/>
          <ac:spMkLst>
            <pc:docMk/>
            <pc:sldMk cId="3264939838" sldId="360"/>
            <ac:spMk id="23" creationId="{497DBD65-0717-E3DF-F245-A0CF9AD7AFC7}"/>
          </ac:spMkLst>
        </pc:spChg>
        <pc:spChg chg="add mod">
          <ac:chgData name="Geeske Strating" userId="47f94ea9-33eb-44aa-b280-9ac97dd39d46" providerId="ADAL" clId="{1F9279CA-8456-4692-B71A-25D2B874B490}" dt="2024-12-18T10:24:27.524" v="1806" actId="20577"/>
          <ac:spMkLst>
            <pc:docMk/>
            <pc:sldMk cId="3264939838" sldId="360"/>
            <ac:spMk id="24" creationId="{2C63826F-DFD9-193B-438D-E29103AE24D7}"/>
          </ac:spMkLst>
        </pc:spChg>
        <pc:grpChg chg="add mod">
          <ac:chgData name="Geeske Strating" userId="47f94ea9-33eb-44aa-b280-9ac97dd39d46" providerId="ADAL" clId="{1F9279CA-8456-4692-B71A-25D2B874B490}" dt="2024-12-18T10:26:35.462" v="1807" actId="164"/>
          <ac:grpSpMkLst>
            <pc:docMk/>
            <pc:sldMk cId="3264939838" sldId="360"/>
            <ac:grpSpMk id="25" creationId="{4A52FA8D-EF2B-2A16-2CD5-5F315BF27BCF}"/>
          </ac:grpSpMkLst>
        </pc:grpChg>
        <pc:grpChg chg="add mod">
          <ac:chgData name="Geeske Strating" userId="47f94ea9-33eb-44aa-b280-9ac97dd39d46" providerId="ADAL" clId="{1F9279CA-8456-4692-B71A-25D2B874B490}" dt="2024-12-18T10:26:35.462" v="1807" actId="164"/>
          <ac:grpSpMkLst>
            <pc:docMk/>
            <pc:sldMk cId="3264939838" sldId="360"/>
            <ac:grpSpMk id="26" creationId="{7EAB0180-48FA-365D-2ACC-0DBD519098CE}"/>
          </ac:grpSpMkLst>
        </pc:grpChg>
        <pc:grpChg chg="add mod">
          <ac:chgData name="Geeske Strating" userId="47f94ea9-33eb-44aa-b280-9ac97dd39d46" providerId="ADAL" clId="{1F9279CA-8456-4692-B71A-25D2B874B490}" dt="2024-12-18T10:27:07.717" v="1809" actId="14100"/>
          <ac:grpSpMkLst>
            <pc:docMk/>
            <pc:sldMk cId="3264939838" sldId="360"/>
            <ac:grpSpMk id="27" creationId="{B4067C10-BCCA-C4AE-86C1-BA90C222C04B}"/>
          </ac:grpSpMkLst>
        </pc:grpChg>
        <pc:picChg chg="add mod">
          <ac:chgData name="Geeske Strating" userId="47f94ea9-33eb-44aa-b280-9ac97dd39d46" providerId="ADAL" clId="{1F9279CA-8456-4692-B71A-25D2B874B490}" dt="2024-12-18T10:23:36.671" v="1746" actId="164"/>
          <ac:picMkLst>
            <pc:docMk/>
            <pc:sldMk cId="3264939838" sldId="360"/>
            <ac:picMk id="5" creationId="{4873332D-15C3-8C73-78D9-7BECB4A3720E}"/>
          </ac:picMkLst>
        </pc:picChg>
        <pc:picChg chg="add mod">
          <ac:chgData name="Geeske Strating" userId="47f94ea9-33eb-44aa-b280-9ac97dd39d46" providerId="ADAL" clId="{1F9279CA-8456-4692-B71A-25D2B874B490}" dt="2024-12-18T10:23:36.671" v="1746" actId="164"/>
          <ac:picMkLst>
            <pc:docMk/>
            <pc:sldMk cId="3264939838" sldId="360"/>
            <ac:picMk id="10" creationId="{6D2C9037-A8EC-5A6B-26A4-51000E26C3E6}"/>
          </ac:picMkLst>
        </pc:picChg>
        <pc:picChg chg="add mod">
          <ac:chgData name="Geeske Strating" userId="47f94ea9-33eb-44aa-b280-9ac97dd39d46" providerId="ADAL" clId="{1F9279CA-8456-4692-B71A-25D2B874B490}" dt="2024-12-18T10:23:36.671" v="1746" actId="164"/>
          <ac:picMkLst>
            <pc:docMk/>
            <pc:sldMk cId="3264939838" sldId="360"/>
            <ac:picMk id="14" creationId="{7ED988CB-C9A0-9957-AAB2-82B537AEB3EB}"/>
          </ac:picMkLst>
        </pc:picChg>
        <pc:picChg chg="add mod">
          <ac:chgData name="Geeske Strating" userId="47f94ea9-33eb-44aa-b280-9ac97dd39d46" providerId="ADAL" clId="{1F9279CA-8456-4692-B71A-25D2B874B490}" dt="2024-12-18T10:23:36.671" v="1746" actId="164"/>
          <ac:picMkLst>
            <pc:docMk/>
            <pc:sldMk cId="3264939838" sldId="360"/>
            <ac:picMk id="16" creationId="{78A2E29B-9F04-5EC4-241C-F482E5F990AF}"/>
          </ac:picMkLst>
        </pc:picChg>
        <pc:picChg chg="add mod">
          <ac:chgData name="Geeske Strating" userId="47f94ea9-33eb-44aa-b280-9ac97dd39d46" providerId="ADAL" clId="{1F9279CA-8456-4692-B71A-25D2B874B490}" dt="2024-12-18T10:26:35.462" v="1807" actId="164"/>
          <ac:picMkLst>
            <pc:docMk/>
            <pc:sldMk cId="3264939838" sldId="360"/>
            <ac:picMk id="18" creationId="{27D47909-65E4-1B19-8DBF-697B00B61231}"/>
          </ac:picMkLst>
        </pc:picChg>
        <pc:cxnChg chg="add mod">
          <ac:chgData name="Geeske Strating" userId="47f94ea9-33eb-44aa-b280-9ac97dd39d46" providerId="ADAL" clId="{1F9279CA-8456-4692-B71A-25D2B874B490}" dt="2024-12-18T11:28:19.744" v="1970" actId="14100"/>
          <ac:cxnSpMkLst>
            <pc:docMk/>
            <pc:sldMk cId="3264939838" sldId="360"/>
            <ac:cxnSpMk id="7" creationId="{029A8CE0-BA8F-47BA-D59B-A59E00DF4377}"/>
          </ac:cxnSpMkLst>
        </pc:cxnChg>
        <pc:cxnChg chg="add mod">
          <ac:chgData name="Geeske Strating" userId="47f94ea9-33eb-44aa-b280-9ac97dd39d46" providerId="ADAL" clId="{1F9279CA-8456-4692-B71A-25D2B874B490}" dt="2024-12-18T11:28:39.617" v="1972" actId="1076"/>
          <ac:cxnSpMkLst>
            <pc:docMk/>
            <pc:sldMk cId="3264939838" sldId="360"/>
            <ac:cxnSpMk id="11" creationId="{A14C9064-0D6A-AE70-4172-6D79A8CDE252}"/>
          </ac:cxnSpMkLst>
        </pc:cxnChg>
        <pc:cxnChg chg="add mod">
          <ac:chgData name="Geeske Strating" userId="47f94ea9-33eb-44aa-b280-9ac97dd39d46" providerId="ADAL" clId="{1F9279CA-8456-4692-B71A-25D2B874B490}" dt="2024-12-18T11:28:51.852" v="1974" actId="1076"/>
          <ac:cxnSpMkLst>
            <pc:docMk/>
            <pc:sldMk cId="3264939838" sldId="360"/>
            <ac:cxnSpMk id="12" creationId="{283D83E0-D10E-40F3-F235-285F60717C57}"/>
          </ac:cxnSpMkLst>
        </pc:cxnChg>
        <pc:cxnChg chg="add mod">
          <ac:chgData name="Geeske Strating" userId="47f94ea9-33eb-44aa-b280-9ac97dd39d46" providerId="ADAL" clId="{1F9279CA-8456-4692-B71A-25D2B874B490}" dt="2024-12-18T11:29:01.852" v="1976" actId="1076"/>
          <ac:cxnSpMkLst>
            <pc:docMk/>
            <pc:sldMk cId="3264939838" sldId="360"/>
            <ac:cxnSpMk id="13" creationId="{965B83E3-D566-7438-A38E-A53C058E1489}"/>
          </ac:cxnSpMkLst>
        </pc:cxnChg>
      </pc:sldChg>
      <pc:sldChg chg="del">
        <pc:chgData name="Geeske Strating" userId="47f94ea9-33eb-44aa-b280-9ac97dd39d46" providerId="ADAL" clId="{1F9279CA-8456-4692-B71A-25D2B874B490}" dt="2024-12-18T11:30:58.202" v="1989" actId="47"/>
        <pc:sldMkLst>
          <pc:docMk/>
          <pc:sldMk cId="500812914" sldId="361"/>
        </pc:sldMkLst>
      </pc:sldChg>
      <pc:sldChg chg="del">
        <pc:chgData name="Geeske Strating" userId="47f94ea9-33eb-44aa-b280-9ac97dd39d46" providerId="ADAL" clId="{1F9279CA-8456-4692-B71A-25D2B874B490}" dt="2024-12-18T11:30:53.619" v="1984" actId="47"/>
        <pc:sldMkLst>
          <pc:docMk/>
          <pc:sldMk cId="3014828031" sldId="362"/>
        </pc:sldMkLst>
      </pc:sldChg>
      <pc:sldChg chg="del">
        <pc:chgData name="Geeske Strating" userId="47f94ea9-33eb-44aa-b280-9ac97dd39d46" providerId="ADAL" clId="{1F9279CA-8456-4692-B71A-25D2B874B490}" dt="2024-12-18T11:30:54.591" v="1985" actId="47"/>
        <pc:sldMkLst>
          <pc:docMk/>
          <pc:sldMk cId="1190472917" sldId="363"/>
        </pc:sldMkLst>
      </pc:sldChg>
      <pc:sldChg chg="del">
        <pc:chgData name="Geeske Strating" userId="47f94ea9-33eb-44aa-b280-9ac97dd39d46" providerId="ADAL" clId="{1F9279CA-8456-4692-B71A-25D2B874B490}" dt="2024-12-18T11:30:50.385" v="1983" actId="47"/>
        <pc:sldMkLst>
          <pc:docMk/>
          <pc:sldMk cId="2019043809" sldId="364"/>
        </pc:sldMkLst>
      </pc:sldChg>
      <pc:sldChg chg="del">
        <pc:chgData name="Geeske Strating" userId="47f94ea9-33eb-44aa-b280-9ac97dd39d46" providerId="ADAL" clId="{1F9279CA-8456-4692-B71A-25D2B874B490}" dt="2024-12-18T11:30:55.547" v="1986" actId="47"/>
        <pc:sldMkLst>
          <pc:docMk/>
          <pc:sldMk cId="2162644501" sldId="365"/>
        </pc:sldMkLst>
      </pc:sldChg>
      <pc:sldChg chg="add del ord">
        <pc:chgData name="Geeske Strating" userId="47f94ea9-33eb-44aa-b280-9ac97dd39d46" providerId="ADAL" clId="{1F9279CA-8456-4692-B71A-25D2B874B490}" dt="2024-12-18T11:30:48.969" v="1982" actId="47"/>
        <pc:sldMkLst>
          <pc:docMk/>
          <pc:sldMk cId="2405521729" sldId="366"/>
        </pc:sldMkLst>
      </pc:sldChg>
      <pc:sldChg chg="addSp delSp modSp add mod ord setBg">
        <pc:chgData name="Geeske Strating" userId="47f94ea9-33eb-44aa-b280-9ac97dd39d46" providerId="ADAL" clId="{1F9279CA-8456-4692-B71A-25D2B874B490}" dt="2024-12-18T09:48:13.399" v="386"/>
        <pc:sldMkLst>
          <pc:docMk/>
          <pc:sldMk cId="3038295320" sldId="367"/>
        </pc:sldMkLst>
        <pc:spChg chg="add mod">
          <ac:chgData name="Geeske Strating" userId="47f94ea9-33eb-44aa-b280-9ac97dd39d46" providerId="ADAL" clId="{1F9279CA-8456-4692-B71A-25D2B874B490}" dt="2024-12-18T09:47:52.349" v="383" actId="1076"/>
          <ac:spMkLst>
            <pc:docMk/>
            <pc:sldMk cId="3038295320" sldId="367"/>
            <ac:spMk id="11" creationId="{73FDF489-CD24-6672-7593-088BA07D4F8B}"/>
          </ac:spMkLst>
        </pc:spChg>
        <pc:picChg chg="add mod">
          <ac:chgData name="Geeske Strating" userId="47f94ea9-33eb-44aa-b280-9ac97dd39d46" providerId="ADAL" clId="{1F9279CA-8456-4692-B71A-25D2B874B490}" dt="2024-12-18T09:47:20.060" v="380" actId="1076"/>
          <ac:picMkLst>
            <pc:docMk/>
            <pc:sldMk cId="3038295320" sldId="367"/>
            <ac:picMk id="6" creationId="{FD4D74A4-041D-A088-7BB8-8427B1103A39}"/>
          </ac:picMkLst>
        </pc:picChg>
        <pc:picChg chg="add mod modCrop">
          <ac:chgData name="Geeske Strating" userId="47f94ea9-33eb-44aa-b280-9ac97dd39d46" providerId="ADAL" clId="{1F9279CA-8456-4692-B71A-25D2B874B490}" dt="2024-12-18T09:47:22.252" v="381" actId="1076"/>
          <ac:picMkLst>
            <pc:docMk/>
            <pc:sldMk cId="3038295320" sldId="367"/>
            <ac:picMk id="10" creationId="{547D61DC-9A2E-F353-180D-B52037CF8A54}"/>
          </ac:picMkLst>
        </pc:picChg>
      </pc:sldChg>
      <pc:sldChg chg="addSp delSp modSp add del mod setBg modNotesTx">
        <pc:chgData name="Geeske Strating" userId="47f94ea9-33eb-44aa-b280-9ac97dd39d46" providerId="ADAL" clId="{1F9279CA-8456-4692-B71A-25D2B874B490}" dt="2024-12-18T11:31:02.119" v="1992" actId="47"/>
        <pc:sldMkLst>
          <pc:docMk/>
          <pc:sldMk cId="845205527" sldId="368"/>
        </pc:sldMkLst>
        <pc:spChg chg="mod">
          <ac:chgData name="Geeske Strating" userId="47f94ea9-33eb-44aa-b280-9ac97dd39d46" providerId="ADAL" clId="{1F9279CA-8456-4692-B71A-25D2B874B490}" dt="2024-12-18T10:27:18.215" v="1819" actId="20577"/>
          <ac:spMkLst>
            <pc:docMk/>
            <pc:sldMk cId="845205527" sldId="368"/>
            <ac:spMk id="4" creationId="{4D5057BE-F666-73AE-AE4B-4C48AA420989}"/>
          </ac:spMkLst>
        </pc:spChg>
        <pc:spChg chg="add mod">
          <ac:chgData name="Geeske Strating" userId="47f94ea9-33eb-44aa-b280-9ac97dd39d46" providerId="ADAL" clId="{1F9279CA-8456-4692-B71A-25D2B874B490}" dt="2024-12-18T10:30:30.286" v="1963" actId="20577"/>
          <ac:spMkLst>
            <pc:docMk/>
            <pc:sldMk cId="845205527" sldId="368"/>
            <ac:spMk id="6" creationId="{3A007405-5299-CE9D-20B4-07AAD653B317}"/>
          </ac:spMkLst>
        </pc:spChg>
      </pc:sldChg>
      <pc:sldChg chg="modSp add mod setBg">
        <pc:chgData name="Geeske Strating" userId="47f94ea9-33eb-44aa-b280-9ac97dd39d46" providerId="ADAL" clId="{1F9279CA-8456-4692-B71A-25D2B874B490}" dt="2025-01-06T12:32:08.213" v="2531" actId="20577"/>
        <pc:sldMkLst>
          <pc:docMk/>
          <pc:sldMk cId="1806635925" sldId="369"/>
        </pc:sldMkLst>
        <pc:spChg chg="mod">
          <ac:chgData name="Geeske Strating" userId="47f94ea9-33eb-44aa-b280-9ac97dd39d46" providerId="ADAL" clId="{1F9279CA-8456-4692-B71A-25D2B874B490}" dt="2024-12-18T11:35:28.721" v="2025" actId="20577"/>
          <ac:spMkLst>
            <pc:docMk/>
            <pc:sldMk cId="1806635925" sldId="369"/>
            <ac:spMk id="4" creationId="{92280282-A0DD-CB6C-7170-527A8180CC81}"/>
          </ac:spMkLst>
        </pc:spChg>
      </pc:sldChg>
      <pc:sldChg chg="delSp modSp add mod">
        <pc:chgData name="Geeske Strating" userId="47f94ea9-33eb-44aa-b280-9ac97dd39d46" providerId="ADAL" clId="{1F9279CA-8456-4692-B71A-25D2B874B490}" dt="2025-01-06T10:45:41.554" v="2279" actId="1076"/>
        <pc:sldMkLst>
          <pc:docMk/>
          <pc:sldMk cId="2039025896" sldId="370"/>
        </pc:sldMkLst>
        <pc:spChg chg="mod">
          <ac:chgData name="Geeske Strating" userId="47f94ea9-33eb-44aa-b280-9ac97dd39d46" providerId="ADAL" clId="{1F9279CA-8456-4692-B71A-25D2B874B490}" dt="2025-01-06T10:45:41.554" v="2279" actId="1076"/>
          <ac:spMkLst>
            <pc:docMk/>
            <pc:sldMk cId="2039025896" sldId="370"/>
            <ac:spMk id="20" creationId="{C4960637-1906-966E-5AC2-2C3A297C1247}"/>
          </ac:spMkLst>
        </pc:spChg>
        <pc:spChg chg="mod">
          <ac:chgData name="Geeske Strating" userId="47f94ea9-33eb-44aa-b280-9ac97dd39d46" providerId="ADAL" clId="{1F9279CA-8456-4692-B71A-25D2B874B490}" dt="2025-01-06T10:39:06.553" v="2143" actId="6549"/>
          <ac:spMkLst>
            <pc:docMk/>
            <pc:sldMk cId="2039025896" sldId="370"/>
            <ac:spMk id="21" creationId="{EA804CD9-5F0F-D484-4AD0-41B43B39DB2E}"/>
          </ac:spMkLst>
        </pc:spChg>
        <pc:spChg chg="mod">
          <ac:chgData name="Geeske Strating" userId="47f94ea9-33eb-44aa-b280-9ac97dd39d46" providerId="ADAL" clId="{1F9279CA-8456-4692-B71A-25D2B874B490}" dt="2025-01-06T10:39:11.808" v="2146" actId="6549"/>
          <ac:spMkLst>
            <pc:docMk/>
            <pc:sldMk cId="2039025896" sldId="370"/>
            <ac:spMk id="22" creationId="{BB6F4842-20B4-FFFD-FDFD-E6409BC5E63F}"/>
          </ac:spMkLst>
        </pc:spChg>
        <pc:spChg chg="mod">
          <ac:chgData name="Geeske Strating" userId="47f94ea9-33eb-44aa-b280-9ac97dd39d46" providerId="ADAL" clId="{1F9279CA-8456-4692-B71A-25D2B874B490}" dt="2025-01-06T10:39:18.143" v="2148" actId="6549"/>
          <ac:spMkLst>
            <pc:docMk/>
            <pc:sldMk cId="2039025896" sldId="370"/>
            <ac:spMk id="23" creationId="{5A9A34C4-2E6C-60D1-AB83-186324F1C2AC}"/>
          </ac:spMkLst>
        </pc:spChg>
        <pc:spChg chg="mod">
          <ac:chgData name="Geeske Strating" userId="47f94ea9-33eb-44aa-b280-9ac97dd39d46" providerId="ADAL" clId="{1F9279CA-8456-4692-B71A-25D2B874B490}" dt="2025-01-06T10:39:21.778" v="2150" actId="6549"/>
          <ac:spMkLst>
            <pc:docMk/>
            <pc:sldMk cId="2039025896" sldId="370"/>
            <ac:spMk id="24" creationId="{4F2C9737-7EA6-0F6D-967B-CDEC022E1080}"/>
          </ac:spMkLst>
        </pc:spChg>
        <pc:grpChg chg="mod">
          <ac:chgData name="Geeske Strating" userId="47f94ea9-33eb-44aa-b280-9ac97dd39d46" providerId="ADAL" clId="{1F9279CA-8456-4692-B71A-25D2B874B490}" dt="2025-01-06T10:39:08.739" v="2144" actId="1076"/>
          <ac:grpSpMkLst>
            <pc:docMk/>
            <pc:sldMk cId="2039025896" sldId="370"/>
            <ac:grpSpMk id="27" creationId="{A738A827-D76E-1A54-ECE6-8976592737AB}"/>
          </ac:grpSpMkLst>
        </pc:grpChg>
        <pc:picChg chg="mod">
          <ac:chgData name="Geeske Strating" userId="47f94ea9-33eb-44aa-b280-9ac97dd39d46" providerId="ADAL" clId="{1F9279CA-8456-4692-B71A-25D2B874B490}" dt="2025-01-06T10:39:53.508" v="2166" actId="1076"/>
          <ac:picMkLst>
            <pc:docMk/>
            <pc:sldMk cId="2039025896" sldId="370"/>
            <ac:picMk id="5" creationId="{AEC91CBC-4E50-8E39-4E26-B567B8F74F99}"/>
          </ac:picMkLst>
        </pc:picChg>
      </pc:sldChg>
      <pc:sldChg chg="modSp add del mod">
        <pc:chgData name="Geeske Strating" userId="47f94ea9-33eb-44aa-b280-9ac97dd39d46" providerId="ADAL" clId="{1F9279CA-8456-4692-B71A-25D2B874B490}" dt="2025-01-06T10:38:24.969" v="2135" actId="2696"/>
        <pc:sldMkLst>
          <pc:docMk/>
          <pc:sldMk cId="3932622056" sldId="370"/>
        </pc:sldMkLst>
      </pc:sldChg>
      <pc:sldChg chg="addSp delSp modSp add mod">
        <pc:chgData name="Geeske Strating" userId="47f94ea9-33eb-44aa-b280-9ac97dd39d46" providerId="ADAL" clId="{1F9279CA-8456-4692-B71A-25D2B874B490}" dt="2025-01-06T10:45:44.974" v="2280" actId="1076"/>
        <pc:sldMkLst>
          <pc:docMk/>
          <pc:sldMk cId="4022420077" sldId="371"/>
        </pc:sldMkLst>
        <pc:spChg chg="mod">
          <ac:chgData name="Geeske Strating" userId="47f94ea9-33eb-44aa-b280-9ac97dd39d46" providerId="ADAL" clId="{1F9279CA-8456-4692-B71A-25D2B874B490}" dt="2025-01-06T10:40:08.786" v="2171" actId="6549"/>
          <ac:spMkLst>
            <pc:docMk/>
            <pc:sldMk cId="4022420077" sldId="371"/>
            <ac:spMk id="20" creationId="{BF768C17-4F2B-2DAC-D620-10E7EFF6BD0B}"/>
          </ac:spMkLst>
        </pc:spChg>
        <pc:spChg chg="mod">
          <ac:chgData name="Geeske Strating" userId="47f94ea9-33eb-44aa-b280-9ac97dd39d46" providerId="ADAL" clId="{1F9279CA-8456-4692-B71A-25D2B874B490}" dt="2025-01-06T10:45:44.974" v="2280" actId="1076"/>
          <ac:spMkLst>
            <pc:docMk/>
            <pc:sldMk cId="4022420077" sldId="371"/>
            <ac:spMk id="21" creationId="{533C3E49-DF76-2BE2-716D-7A5A192264C2}"/>
          </ac:spMkLst>
        </pc:spChg>
        <pc:spChg chg="mod">
          <ac:chgData name="Geeske Strating" userId="47f94ea9-33eb-44aa-b280-9ac97dd39d46" providerId="ADAL" clId="{1F9279CA-8456-4692-B71A-25D2B874B490}" dt="2025-01-06T10:40:23.993" v="2177" actId="6549"/>
          <ac:spMkLst>
            <pc:docMk/>
            <pc:sldMk cId="4022420077" sldId="371"/>
            <ac:spMk id="22" creationId="{378B7B1A-5E91-BC48-1F21-A86677717566}"/>
          </ac:spMkLst>
        </pc:spChg>
        <pc:spChg chg="mod">
          <ac:chgData name="Geeske Strating" userId="47f94ea9-33eb-44aa-b280-9ac97dd39d46" providerId="ADAL" clId="{1F9279CA-8456-4692-B71A-25D2B874B490}" dt="2025-01-06T10:40:26.636" v="2178" actId="6549"/>
          <ac:spMkLst>
            <pc:docMk/>
            <pc:sldMk cId="4022420077" sldId="371"/>
            <ac:spMk id="23" creationId="{96427E8F-2F5F-E6E1-6112-DA6117D79E3D}"/>
          </ac:spMkLst>
        </pc:spChg>
        <pc:spChg chg="mod">
          <ac:chgData name="Geeske Strating" userId="47f94ea9-33eb-44aa-b280-9ac97dd39d46" providerId="ADAL" clId="{1F9279CA-8456-4692-B71A-25D2B874B490}" dt="2025-01-06T10:40:29.136" v="2179" actId="6549"/>
          <ac:spMkLst>
            <pc:docMk/>
            <pc:sldMk cId="4022420077" sldId="371"/>
            <ac:spMk id="24" creationId="{3169F210-1702-B876-3158-6728A1B3C7B0}"/>
          </ac:spMkLst>
        </pc:spChg>
        <pc:grpChg chg="add del mod">
          <ac:chgData name="Geeske Strating" userId="47f94ea9-33eb-44aa-b280-9ac97dd39d46" providerId="ADAL" clId="{1F9279CA-8456-4692-B71A-25D2B874B490}" dt="2025-01-06T10:40:44.882" v="2186" actId="1076"/>
          <ac:grpSpMkLst>
            <pc:docMk/>
            <pc:sldMk cId="4022420077" sldId="371"/>
            <ac:grpSpMk id="27" creationId="{08E7D712-1CC2-61A0-2A55-87E489C84887}"/>
          </ac:grpSpMkLst>
        </pc:grpChg>
        <pc:picChg chg="mod">
          <ac:chgData name="Geeske Strating" userId="47f94ea9-33eb-44aa-b280-9ac97dd39d46" providerId="ADAL" clId="{1F9279CA-8456-4692-B71A-25D2B874B490}" dt="2025-01-06T10:41:50.634" v="2200" actId="1076"/>
          <ac:picMkLst>
            <pc:docMk/>
            <pc:sldMk cId="4022420077" sldId="371"/>
            <ac:picMk id="18" creationId="{D3187CD4-9863-7600-1935-4518F90C2013}"/>
          </ac:picMkLst>
        </pc:picChg>
      </pc:sldChg>
      <pc:sldChg chg="delSp modSp add mod">
        <pc:chgData name="Geeske Strating" userId="47f94ea9-33eb-44aa-b280-9ac97dd39d46" providerId="ADAL" clId="{1F9279CA-8456-4692-B71A-25D2B874B490}" dt="2025-01-06T10:45:49.242" v="2281" actId="1076"/>
        <pc:sldMkLst>
          <pc:docMk/>
          <pc:sldMk cId="389640284" sldId="372"/>
        </pc:sldMkLst>
        <pc:spChg chg="mod">
          <ac:chgData name="Geeske Strating" userId="47f94ea9-33eb-44aa-b280-9ac97dd39d46" providerId="ADAL" clId="{1F9279CA-8456-4692-B71A-25D2B874B490}" dt="2025-01-06T10:42:16.296" v="2205" actId="6549"/>
          <ac:spMkLst>
            <pc:docMk/>
            <pc:sldMk cId="389640284" sldId="372"/>
            <ac:spMk id="20" creationId="{AA0108DA-5A02-424C-E9C2-DAE707AD8B20}"/>
          </ac:spMkLst>
        </pc:spChg>
        <pc:spChg chg="mod">
          <ac:chgData name="Geeske Strating" userId="47f94ea9-33eb-44aa-b280-9ac97dd39d46" providerId="ADAL" clId="{1F9279CA-8456-4692-B71A-25D2B874B490}" dt="2025-01-06T10:42:18.542" v="2206" actId="6549"/>
          <ac:spMkLst>
            <pc:docMk/>
            <pc:sldMk cId="389640284" sldId="372"/>
            <ac:spMk id="21" creationId="{4D9BC974-F7A0-D4A1-2BB8-045368A55C7C}"/>
          </ac:spMkLst>
        </pc:spChg>
        <pc:spChg chg="mod">
          <ac:chgData name="Geeske Strating" userId="47f94ea9-33eb-44aa-b280-9ac97dd39d46" providerId="ADAL" clId="{1F9279CA-8456-4692-B71A-25D2B874B490}" dt="2025-01-06T10:45:49.242" v="2281" actId="1076"/>
          <ac:spMkLst>
            <pc:docMk/>
            <pc:sldMk cId="389640284" sldId="372"/>
            <ac:spMk id="22" creationId="{473FBCB0-9C8D-165D-3825-CFB6A609517F}"/>
          </ac:spMkLst>
        </pc:spChg>
        <pc:spChg chg="mod">
          <ac:chgData name="Geeske Strating" userId="47f94ea9-33eb-44aa-b280-9ac97dd39d46" providerId="ADAL" clId="{1F9279CA-8456-4692-B71A-25D2B874B490}" dt="2025-01-06T10:42:21.113" v="2207" actId="6549"/>
          <ac:spMkLst>
            <pc:docMk/>
            <pc:sldMk cId="389640284" sldId="372"/>
            <ac:spMk id="23" creationId="{CD120205-E60F-3606-9B5C-FCC5FBC73BA6}"/>
          </ac:spMkLst>
        </pc:spChg>
        <pc:spChg chg="mod">
          <ac:chgData name="Geeske Strating" userId="47f94ea9-33eb-44aa-b280-9ac97dd39d46" providerId="ADAL" clId="{1F9279CA-8456-4692-B71A-25D2B874B490}" dt="2025-01-06T10:43:10.331" v="2228" actId="1076"/>
          <ac:spMkLst>
            <pc:docMk/>
            <pc:sldMk cId="389640284" sldId="372"/>
            <ac:spMk id="24" creationId="{AC238486-89D0-A4B4-DD4E-3FC29CDF1926}"/>
          </ac:spMkLst>
        </pc:spChg>
        <pc:grpChg chg="mod">
          <ac:chgData name="Geeske Strating" userId="47f94ea9-33eb-44aa-b280-9ac97dd39d46" providerId="ADAL" clId="{1F9279CA-8456-4692-B71A-25D2B874B490}" dt="2025-01-06T10:43:17.604" v="2230" actId="1076"/>
          <ac:grpSpMkLst>
            <pc:docMk/>
            <pc:sldMk cId="389640284" sldId="372"/>
            <ac:grpSpMk id="27" creationId="{D6C89E50-E108-FF73-91DF-84A97E321B01}"/>
          </ac:grpSpMkLst>
        </pc:grpChg>
        <pc:picChg chg="mod">
          <ac:chgData name="Geeske Strating" userId="47f94ea9-33eb-44aa-b280-9ac97dd39d46" providerId="ADAL" clId="{1F9279CA-8456-4692-B71A-25D2B874B490}" dt="2025-01-06T10:43:21.425" v="2231" actId="1076"/>
          <ac:picMkLst>
            <pc:docMk/>
            <pc:sldMk cId="389640284" sldId="372"/>
            <ac:picMk id="10" creationId="{B144DC61-AC11-1D5D-E2D4-A8E5B6C378B1}"/>
          </ac:picMkLst>
        </pc:picChg>
      </pc:sldChg>
      <pc:sldChg chg="addSp delSp modSp add mod">
        <pc:chgData name="Geeske Strating" userId="47f94ea9-33eb-44aa-b280-9ac97dd39d46" providerId="ADAL" clId="{1F9279CA-8456-4692-B71A-25D2B874B490}" dt="2025-01-06T10:45:53.232" v="2282" actId="1076"/>
        <pc:sldMkLst>
          <pc:docMk/>
          <pc:sldMk cId="2216711475" sldId="373"/>
        </pc:sldMkLst>
        <pc:spChg chg="mod">
          <ac:chgData name="Geeske Strating" userId="47f94ea9-33eb-44aa-b280-9ac97dd39d46" providerId="ADAL" clId="{1F9279CA-8456-4692-B71A-25D2B874B490}" dt="2025-01-06T10:43:41.003" v="2237" actId="6549"/>
          <ac:spMkLst>
            <pc:docMk/>
            <pc:sldMk cId="2216711475" sldId="373"/>
            <ac:spMk id="20" creationId="{C37C7CF3-AA29-6D57-FA70-D6AABC9D015D}"/>
          </ac:spMkLst>
        </pc:spChg>
        <pc:spChg chg="mod">
          <ac:chgData name="Geeske Strating" userId="47f94ea9-33eb-44aa-b280-9ac97dd39d46" providerId="ADAL" clId="{1F9279CA-8456-4692-B71A-25D2B874B490}" dt="2025-01-06T10:43:38.919" v="2236" actId="6549"/>
          <ac:spMkLst>
            <pc:docMk/>
            <pc:sldMk cId="2216711475" sldId="373"/>
            <ac:spMk id="21" creationId="{63F04416-3EBF-BB48-3470-5538653061D6}"/>
          </ac:spMkLst>
        </pc:spChg>
        <pc:spChg chg="mod">
          <ac:chgData name="Geeske Strating" userId="47f94ea9-33eb-44aa-b280-9ac97dd39d46" providerId="ADAL" clId="{1F9279CA-8456-4692-B71A-25D2B874B490}" dt="2025-01-06T10:43:36.954" v="2235" actId="6549"/>
          <ac:spMkLst>
            <pc:docMk/>
            <pc:sldMk cId="2216711475" sldId="373"/>
            <ac:spMk id="22" creationId="{DC51538D-D560-732A-EAFE-171482724FEB}"/>
          </ac:spMkLst>
        </pc:spChg>
        <pc:spChg chg="mod">
          <ac:chgData name="Geeske Strating" userId="47f94ea9-33eb-44aa-b280-9ac97dd39d46" providerId="ADAL" clId="{1F9279CA-8456-4692-B71A-25D2B874B490}" dt="2025-01-06T10:45:53.232" v="2282" actId="1076"/>
          <ac:spMkLst>
            <pc:docMk/>
            <pc:sldMk cId="2216711475" sldId="373"/>
            <ac:spMk id="23" creationId="{071754A2-5843-C0F2-B8A9-02F00882C759}"/>
          </ac:spMkLst>
        </pc:spChg>
        <pc:spChg chg="mod">
          <ac:chgData name="Geeske Strating" userId="47f94ea9-33eb-44aa-b280-9ac97dd39d46" providerId="ADAL" clId="{1F9279CA-8456-4692-B71A-25D2B874B490}" dt="2025-01-06T10:43:53.842" v="2245" actId="6549"/>
          <ac:spMkLst>
            <pc:docMk/>
            <pc:sldMk cId="2216711475" sldId="373"/>
            <ac:spMk id="24" creationId="{FCB790D5-F96D-5CBE-EF5F-29E5FD7DC8BB}"/>
          </ac:spMkLst>
        </pc:spChg>
        <pc:grpChg chg="add del">
          <ac:chgData name="Geeske Strating" userId="47f94ea9-33eb-44aa-b280-9ac97dd39d46" providerId="ADAL" clId="{1F9279CA-8456-4692-B71A-25D2B874B490}" dt="2025-01-06T10:43:50.471" v="2243" actId="478"/>
          <ac:grpSpMkLst>
            <pc:docMk/>
            <pc:sldMk cId="2216711475" sldId="373"/>
            <ac:grpSpMk id="27" creationId="{7A7CC7E3-F29A-13DC-42B4-B7407FE2AE0E}"/>
          </ac:grpSpMkLst>
        </pc:grpChg>
        <pc:picChg chg="mod">
          <ac:chgData name="Geeske Strating" userId="47f94ea9-33eb-44aa-b280-9ac97dd39d46" providerId="ADAL" clId="{1F9279CA-8456-4692-B71A-25D2B874B490}" dt="2025-01-06T10:44:21.732" v="2254" actId="14100"/>
          <ac:picMkLst>
            <pc:docMk/>
            <pc:sldMk cId="2216711475" sldId="373"/>
            <ac:picMk id="14" creationId="{5B97F4DF-DF73-BF81-61FA-40599BC3D90C}"/>
          </ac:picMkLst>
        </pc:picChg>
      </pc:sldChg>
      <pc:sldChg chg="delSp modSp add mod ord">
        <pc:chgData name="Geeske Strating" userId="47f94ea9-33eb-44aa-b280-9ac97dd39d46" providerId="ADAL" clId="{1F9279CA-8456-4692-B71A-25D2B874B490}" dt="2025-01-06T10:45:21.623" v="2277" actId="403"/>
        <pc:sldMkLst>
          <pc:docMk/>
          <pc:sldMk cId="967013960" sldId="374"/>
        </pc:sldMkLst>
        <pc:spChg chg="mod">
          <ac:chgData name="Geeske Strating" userId="47f94ea9-33eb-44aa-b280-9ac97dd39d46" providerId="ADAL" clId="{1F9279CA-8456-4692-B71A-25D2B874B490}" dt="2025-01-06T10:44:57.597" v="2265" actId="6549"/>
          <ac:spMkLst>
            <pc:docMk/>
            <pc:sldMk cId="967013960" sldId="374"/>
            <ac:spMk id="20" creationId="{951666AA-57A3-C5CB-205F-72B13532DEDC}"/>
          </ac:spMkLst>
        </pc:spChg>
        <pc:spChg chg="mod">
          <ac:chgData name="Geeske Strating" userId="47f94ea9-33eb-44aa-b280-9ac97dd39d46" providerId="ADAL" clId="{1F9279CA-8456-4692-B71A-25D2B874B490}" dt="2025-01-06T10:44:54.626" v="2264" actId="6549"/>
          <ac:spMkLst>
            <pc:docMk/>
            <pc:sldMk cId="967013960" sldId="374"/>
            <ac:spMk id="21" creationId="{0BEE3082-9BFC-BE07-6840-9ABC392BB482}"/>
          </ac:spMkLst>
        </pc:spChg>
        <pc:spChg chg="mod">
          <ac:chgData name="Geeske Strating" userId="47f94ea9-33eb-44aa-b280-9ac97dd39d46" providerId="ADAL" clId="{1F9279CA-8456-4692-B71A-25D2B874B490}" dt="2025-01-06T10:44:52.747" v="2263" actId="6549"/>
          <ac:spMkLst>
            <pc:docMk/>
            <pc:sldMk cId="967013960" sldId="374"/>
            <ac:spMk id="22" creationId="{9B2FA904-5955-8CFE-F4DC-72B7181C4EDC}"/>
          </ac:spMkLst>
        </pc:spChg>
        <pc:spChg chg="mod">
          <ac:chgData name="Geeske Strating" userId="47f94ea9-33eb-44aa-b280-9ac97dd39d46" providerId="ADAL" clId="{1F9279CA-8456-4692-B71A-25D2B874B490}" dt="2025-01-06T10:44:51.145" v="2262" actId="6549"/>
          <ac:spMkLst>
            <pc:docMk/>
            <pc:sldMk cId="967013960" sldId="374"/>
            <ac:spMk id="23" creationId="{97171EFF-593F-1604-87B6-6E7D6B89D6BA}"/>
          </ac:spMkLst>
        </pc:spChg>
        <pc:spChg chg="mod">
          <ac:chgData name="Geeske Strating" userId="47f94ea9-33eb-44aa-b280-9ac97dd39d46" providerId="ADAL" clId="{1F9279CA-8456-4692-B71A-25D2B874B490}" dt="2025-01-06T10:45:21.623" v="2277" actId="403"/>
          <ac:spMkLst>
            <pc:docMk/>
            <pc:sldMk cId="967013960" sldId="374"/>
            <ac:spMk id="24" creationId="{98797B77-AC97-C6E3-DA18-1885CCCB6B8B}"/>
          </ac:spMkLst>
        </pc:spChg>
        <pc:picChg chg="mod">
          <ac:chgData name="Geeske Strating" userId="47f94ea9-33eb-44aa-b280-9ac97dd39d46" providerId="ADAL" clId="{1F9279CA-8456-4692-B71A-25D2B874B490}" dt="2025-01-06T10:45:15.104" v="2272" actId="14100"/>
          <ac:picMkLst>
            <pc:docMk/>
            <pc:sldMk cId="967013960" sldId="374"/>
            <ac:picMk id="16" creationId="{07D7D964-091D-172E-58A7-EA6B5190606C}"/>
          </ac:picMkLst>
        </pc:picChg>
      </pc:sldChg>
      <pc:sldChg chg="modSp add mod">
        <pc:chgData name="Geeske Strating" userId="47f94ea9-33eb-44aa-b280-9ac97dd39d46" providerId="ADAL" clId="{1F9279CA-8456-4692-B71A-25D2B874B490}" dt="2025-01-06T12:48:01.471" v="2622" actId="20577"/>
        <pc:sldMkLst>
          <pc:docMk/>
          <pc:sldMk cId="2678585382" sldId="375"/>
        </pc:sldMkLst>
        <pc:spChg chg="mod">
          <ac:chgData name="Geeske Strating" userId="47f94ea9-33eb-44aa-b280-9ac97dd39d46" providerId="ADAL" clId="{1F9279CA-8456-4692-B71A-25D2B874B490}" dt="2025-01-06T12:47:37.184" v="2546" actId="20577"/>
          <ac:spMkLst>
            <pc:docMk/>
            <pc:sldMk cId="2678585382" sldId="375"/>
            <ac:spMk id="4" creationId="{3202337A-672D-F3FC-ADC5-236987799026}"/>
          </ac:spMkLst>
        </pc:spChg>
      </pc:sldChg>
    </pc:docChg>
  </pc:docChgLst>
  <pc:docChgLst>
    <pc:chgData name="Gastgebruiker" userId="S::urn:spo:anon#8a4faf74a8d0433747e01c654e4a03a3672fe1c20c2764a112d95746ea619468::" providerId="AD" clId="Web-{3A19A1D4-2D09-D80C-4648-4E239175E6F8}"/>
    <pc:docChg chg="modSld">
      <pc:chgData name="Gastgebruiker" userId="S::urn:spo:anon#8a4faf74a8d0433747e01c654e4a03a3672fe1c20c2764a112d95746ea619468::" providerId="AD" clId="Web-{3A19A1D4-2D09-D80C-4648-4E239175E6F8}" dt="2025-01-20T12:34:06.889" v="20" actId="20577"/>
      <pc:docMkLst>
        <pc:docMk/>
      </pc:docMkLst>
      <pc:sldChg chg="modSp">
        <pc:chgData name="Gastgebruiker" userId="S::urn:spo:anon#8a4faf74a8d0433747e01c654e4a03a3672fe1c20c2764a112d95746ea619468::" providerId="AD" clId="Web-{3A19A1D4-2D09-D80C-4648-4E239175E6F8}" dt="2025-01-20T12:34:06.889" v="20" actId="20577"/>
        <pc:sldMkLst>
          <pc:docMk/>
          <pc:sldMk cId="1711744300" sldId="349"/>
        </pc:sldMkLst>
        <pc:spChg chg="mod">
          <ac:chgData name="Gastgebruiker" userId="S::urn:spo:anon#8a4faf74a8d0433747e01c654e4a03a3672fe1c20c2764a112d95746ea619468::" providerId="AD" clId="Web-{3A19A1D4-2D09-D80C-4648-4E239175E6F8}" dt="2025-01-20T12:34:06.889" v="20" actId="20577"/>
          <ac:spMkLst>
            <pc:docMk/>
            <pc:sldMk cId="1711744300" sldId="349"/>
            <ac:spMk id="6" creationId="{A08EF91E-08A2-3C40-BD4D-5184F7B4A5CD}"/>
          </ac:spMkLst>
        </pc:spChg>
      </pc:sldChg>
    </pc:docChg>
  </pc:docChgLst>
  <pc:docChgLst>
    <pc:chgData name="Geeske Strating" userId="S::strating@emma.nl::47f94ea9-33eb-44aa-b280-9ac97dd39d46" providerId="AD" clId="Web-{F388F5FA-BC04-9B33-99AA-C96ABE5A2B43}"/>
    <pc:docChg chg="modSld">
      <pc:chgData name="Geeske Strating" userId="S::strating@emma.nl::47f94ea9-33eb-44aa-b280-9ac97dd39d46" providerId="AD" clId="Web-{F388F5FA-BC04-9B33-99AA-C96ABE5A2B43}" dt="2025-01-22T13:05:25.366" v="47" actId="1076"/>
      <pc:docMkLst>
        <pc:docMk/>
      </pc:docMkLst>
      <pc:sldChg chg="modSp">
        <pc:chgData name="Geeske Strating" userId="S::strating@emma.nl::47f94ea9-33eb-44aa-b280-9ac97dd39d46" providerId="AD" clId="Web-{F388F5FA-BC04-9B33-99AA-C96ABE5A2B43}" dt="2025-01-22T13:05:25.366" v="47" actId="1076"/>
        <pc:sldMkLst>
          <pc:docMk/>
          <pc:sldMk cId="1806635925" sldId="369"/>
        </pc:sldMkLst>
        <pc:spChg chg="mod">
          <ac:chgData name="Geeske Strating" userId="S::strating@emma.nl::47f94ea9-33eb-44aa-b280-9ac97dd39d46" providerId="AD" clId="Web-{F388F5FA-BC04-9B33-99AA-C96ABE5A2B43}" dt="2025-01-22T13:05:25.366" v="47" actId="1076"/>
          <ac:spMkLst>
            <pc:docMk/>
            <pc:sldMk cId="1806635925" sldId="369"/>
            <ac:spMk id="6" creationId="{DEA26478-D45E-BADF-C659-B2723DD9FC82}"/>
          </ac:spMkLst>
        </pc:spChg>
      </pc:sldChg>
      <pc:sldChg chg="addSp delSp modSp">
        <pc:chgData name="Geeske Strating" userId="S::strating@emma.nl::47f94ea9-33eb-44aa-b280-9ac97dd39d46" providerId="AD" clId="Web-{F388F5FA-BC04-9B33-99AA-C96ABE5A2B43}" dt="2025-01-22T13:04:38.505" v="46" actId="14100"/>
        <pc:sldMkLst>
          <pc:docMk/>
          <pc:sldMk cId="2678585382" sldId="375"/>
        </pc:sldMkLst>
        <pc:spChg chg="del mod">
          <ac:chgData name="Geeske Strating" userId="S::strating@emma.nl::47f94ea9-33eb-44aa-b280-9ac97dd39d46" providerId="AD" clId="Web-{F388F5FA-BC04-9B33-99AA-C96ABE5A2B43}" dt="2025-01-22T13:01:38.483" v="1"/>
          <ac:spMkLst>
            <pc:docMk/>
            <pc:sldMk cId="2678585382" sldId="375"/>
            <ac:spMk id="3" creationId="{C4BF7E81-3F0D-03C2-138F-11B3A6F0F36C}"/>
          </ac:spMkLst>
        </pc:spChg>
        <pc:spChg chg="mod">
          <ac:chgData name="Geeske Strating" userId="S::strating@emma.nl::47f94ea9-33eb-44aa-b280-9ac97dd39d46" providerId="AD" clId="Web-{F388F5FA-BC04-9B33-99AA-C96ABE5A2B43}" dt="2025-01-22T13:04:38.505" v="46" actId="14100"/>
          <ac:spMkLst>
            <pc:docMk/>
            <pc:sldMk cId="2678585382" sldId="375"/>
            <ac:spMk id="4" creationId="{3202337A-672D-F3FC-ADC5-236987799026}"/>
          </ac:spMkLst>
        </pc:spChg>
        <pc:spChg chg="add mod">
          <ac:chgData name="Geeske Strating" userId="S::strating@emma.nl::47f94ea9-33eb-44aa-b280-9ac97dd39d46" providerId="AD" clId="Web-{F388F5FA-BC04-9B33-99AA-C96ABE5A2B43}" dt="2025-01-22T13:04:34.099" v="45" actId="1076"/>
          <ac:spMkLst>
            <pc:docMk/>
            <pc:sldMk cId="2678585382" sldId="375"/>
            <ac:spMk id="5" creationId="{A823F88A-6FC7-8025-126D-01EC5AD909F3}"/>
          </ac:spMkLst>
        </pc:spChg>
        <pc:picChg chg="del">
          <ac:chgData name="Geeske Strating" userId="S::strating@emma.nl::47f94ea9-33eb-44aa-b280-9ac97dd39d46" providerId="AD" clId="Web-{F388F5FA-BC04-9B33-99AA-C96ABE5A2B43}" dt="2025-01-22T13:01:40.108" v="2"/>
          <ac:picMkLst>
            <pc:docMk/>
            <pc:sldMk cId="2678585382" sldId="375"/>
            <ac:picMk id="2" creationId="{EE76EF7F-5950-8CE6-CFEC-0840B6187F81}"/>
          </ac:picMkLst>
        </pc:picChg>
      </pc:sldChg>
    </pc:docChg>
  </pc:docChgLst>
  <pc:docChgLst>
    <pc:chgData name="Gastgebruiker" userId="S::urn:spo:anon#8a4faf74a8d0433747e01c654e4a03a3672fe1c20c2764a112d95746ea619468::" providerId="AD" clId="Web-{72957A3D-C8AC-9B87-190D-CD77066A3E75}"/>
    <pc:docChg chg="modSld sldOrd">
      <pc:chgData name="Gastgebruiker" userId="S::urn:spo:anon#8a4faf74a8d0433747e01c654e4a03a3672fe1c20c2764a112d95746ea619468::" providerId="AD" clId="Web-{72957A3D-C8AC-9B87-190D-CD77066A3E75}" dt="2024-12-23T08:22:08.832" v="34" actId="20577"/>
      <pc:docMkLst>
        <pc:docMk/>
      </pc:docMkLst>
      <pc:sldChg chg="modSp">
        <pc:chgData name="Gastgebruiker" userId="S::urn:spo:anon#8a4faf74a8d0433747e01c654e4a03a3672fe1c20c2764a112d95746ea619468::" providerId="AD" clId="Web-{72957A3D-C8AC-9B87-190D-CD77066A3E75}" dt="2024-12-23T08:19:39.761" v="3" actId="20577"/>
        <pc:sldMkLst>
          <pc:docMk/>
          <pc:sldMk cId="1711744300" sldId="349"/>
        </pc:sldMkLst>
        <pc:spChg chg="mod">
          <ac:chgData name="Gastgebruiker" userId="S::urn:spo:anon#8a4faf74a8d0433747e01c654e4a03a3672fe1c20c2764a112d95746ea619468::" providerId="AD" clId="Web-{72957A3D-C8AC-9B87-190D-CD77066A3E75}" dt="2024-12-23T08:19:39.761" v="3" actId="20577"/>
          <ac:spMkLst>
            <pc:docMk/>
            <pc:sldMk cId="1711744300" sldId="349"/>
            <ac:spMk id="6" creationId="{A08EF91E-08A2-3C40-BD4D-5184F7B4A5CD}"/>
          </ac:spMkLst>
        </pc:spChg>
      </pc:sldChg>
      <pc:sldChg chg="ord">
        <pc:chgData name="Gastgebruiker" userId="S::urn:spo:anon#8a4faf74a8d0433747e01c654e4a03a3672fe1c20c2764a112d95746ea619468::" providerId="AD" clId="Web-{72957A3D-C8AC-9B87-190D-CD77066A3E75}" dt="2024-12-23T08:21:00.156" v="5"/>
        <pc:sldMkLst>
          <pc:docMk/>
          <pc:sldMk cId="3264939838" sldId="360"/>
        </pc:sldMkLst>
      </pc:sldChg>
      <pc:sldChg chg="modSp">
        <pc:chgData name="Gastgebruiker" userId="S::urn:spo:anon#8a4faf74a8d0433747e01c654e4a03a3672fe1c20c2764a112d95746ea619468::" providerId="AD" clId="Web-{72957A3D-C8AC-9B87-190D-CD77066A3E75}" dt="2024-12-23T08:22:08.832" v="34" actId="20577"/>
        <pc:sldMkLst>
          <pc:docMk/>
          <pc:sldMk cId="845205527" sldId="368"/>
        </pc:sldMkLst>
        <pc:spChg chg="mod">
          <ac:chgData name="Gastgebruiker" userId="S::urn:spo:anon#8a4faf74a8d0433747e01c654e4a03a3672fe1c20c2764a112d95746ea619468::" providerId="AD" clId="Web-{72957A3D-C8AC-9B87-190D-CD77066A3E75}" dt="2024-12-23T08:21:25.267" v="19" actId="14100"/>
          <ac:spMkLst>
            <pc:docMk/>
            <pc:sldMk cId="845205527" sldId="368"/>
            <ac:spMk id="4" creationId="{4D5057BE-F666-73AE-AE4B-4C48AA420989}"/>
          </ac:spMkLst>
        </pc:spChg>
        <pc:spChg chg="mod">
          <ac:chgData name="Gastgebruiker" userId="S::urn:spo:anon#8a4faf74a8d0433747e01c654e4a03a3672fe1c20c2764a112d95746ea619468::" providerId="AD" clId="Web-{72957A3D-C8AC-9B87-190D-CD77066A3E75}" dt="2024-12-23T08:22:08.832" v="34" actId="20577"/>
          <ac:spMkLst>
            <pc:docMk/>
            <pc:sldMk cId="845205527" sldId="368"/>
            <ac:spMk id="6" creationId="{3A007405-5299-CE9D-20B4-07AAD653B31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D58779D1-C97C-4FB8-BDE7-EB258F9CA0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>
              <a:solidFill>
                <a:schemeClr val="tx2"/>
              </a:solidFill>
            </a:endParaRP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62743A49-0C72-4CA3-B2EF-051526E0BB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BD0603-9AB1-4579-8DC1-7FB0A21653ED}" type="datetimeFigureOut">
              <a:rPr lang="nl-NL" sz="1000" smtClean="0">
                <a:solidFill>
                  <a:schemeClr val="tx2"/>
                </a:solidFill>
              </a:rPr>
              <a:t>22-1-2025</a:t>
            </a:fld>
            <a:endParaRPr lang="nl-NL" sz="1000">
              <a:solidFill>
                <a:schemeClr val="tx2"/>
              </a:solidFill>
            </a:endParaRP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CFD22D9-7C94-45E7-9DDF-4817C96B737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>
              <a:solidFill>
                <a:schemeClr val="tx2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9F25E78-C11C-47D8-A05B-E171C3C3F46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41225-8CDA-433E-BC12-7572F2F3353F}" type="slidenum">
              <a:rPr lang="nl-NL" sz="1000" smtClean="0">
                <a:solidFill>
                  <a:schemeClr val="tx2"/>
                </a:solidFill>
              </a:rPr>
              <a:t>‹nr.›</a:t>
            </a:fld>
            <a:endParaRPr lang="nl-NL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7029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EB051A07-5AC0-45DF-9FC0-DC50B8913C00}" type="datetimeFigureOut">
              <a:rPr lang="nl-NL" smtClean="0"/>
              <a:pPr/>
              <a:t>22-1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927065F3-3E6B-4300-AA99-FDDDEDB490EF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8662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01778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9A4413-6AF6-7550-6623-EDA298FDF0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F9A62346-5126-5485-109E-3FD02CC8D6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8F653A7-E869-8368-E9F3-3C9AEF219D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B9539A7-BE01-A23B-4D6D-86AEA3304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62075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4D8EC4-2D47-125E-77CA-BB82FC3334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017F8086-4942-03F5-C18E-C93B7E32AC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5686C031-459D-7BE8-013A-ABA779F722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FA5AD7A-8394-E093-5898-5395CE6839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89352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820B4-DC2C-73E0-34C8-DC511FB68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9E8FB4F-8C67-B5BD-93E4-D5CA7D8E81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A46D0893-CF6F-A614-B844-A53264EDE5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409578E-6F19-9B8D-635E-BC1F33A18F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90372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BD9FCF-382D-88F2-48A7-06CCD3CAF5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AB05F4F-9CEF-8D28-764D-82E534C69B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A26FCDA5-CA6C-0693-3A51-90175A4803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C9754FA-6D0C-0E09-7A7F-D2339C78E37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145897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F5508F-FB1D-6FF7-27CF-E431A4AF7B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2F59F3B-4860-AA36-DD57-23C919D113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24BB163B-4B3E-B495-D9B2-5A35C6F666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65084BF-1897-C77A-F9CA-743FD11D57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91699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28F1E6-05BF-58C3-F56E-AE254B6C97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9794FA42-8637-968B-69D6-6ED88D0392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136FD20E-3F88-EDD5-5DFB-1BD42F6ACA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FD3FEE4-5786-AE35-79A1-64B52BA4DD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847279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281520-EA0F-FCE0-D175-3BA3DDA330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E5DB8BA-9105-238C-19E5-F73C653010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AB738555-89C1-2089-085F-B030D2AF0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EMMA kennen jullie wellicht</a:t>
            </a:r>
          </a:p>
          <a:p>
            <a:r>
              <a:rPr lang="nl-NL"/>
              <a:t>60 </a:t>
            </a:r>
            <a:r>
              <a:rPr lang="nl-NL" err="1"/>
              <a:t>collegas</a:t>
            </a:r>
            <a:r>
              <a:rPr lang="nl-NL"/>
              <a:t> in DH en Zwolle</a:t>
            </a:r>
          </a:p>
          <a:p>
            <a:r>
              <a:rPr lang="nl-NL"/>
              <a:t>Melanie, maar ook 10 RES </a:t>
            </a:r>
            <a:r>
              <a:rPr lang="nl-NL" err="1"/>
              <a:t>regios</a:t>
            </a:r>
            <a:r>
              <a:rPr lang="nl-NL"/>
              <a:t>, en tientallen gemeenten inmiddels. Maar we doen ook andere dingen: onderzoek naar Coronarellen, participatie en communicatie, redactie etc.</a:t>
            </a:r>
          </a:p>
          <a:p>
            <a:r>
              <a:rPr lang="nl-NL"/>
              <a:t>Ikzelf: strategie en veranderkunde en alliantie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7E943C18-B3DF-1450-974A-D7285FFE09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24056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6310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98BB1-AB31-833A-38A1-C195717EEF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1C1688DF-56A7-5125-2A8E-6656F3225C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CB58FABA-0368-C92F-CBCA-E6F25430CB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0D1A1FA-F473-3B05-34BB-DBFF637F19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899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36511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FD46C7-B779-3591-2964-46E5C7D13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FA4D8381-AFAD-3569-E018-FAA5A077DE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3348FACF-3146-89BB-5F92-80641E062A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3B7A757-CAB7-0C5B-CECC-8F5D15D9CC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9748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065329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3D75B9-DE75-68DD-6139-2DE9F464A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87DABE36-A607-C44B-CD78-2701471495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F1BA7421-57A3-12CF-6FC8-BE034613ED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5D20C63-15EE-B0A7-FD27-209DBEB7FE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583879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304EB4-53D0-2410-441D-B8E3E4B66E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86AD0BF-BA9E-AF77-1DA7-38E14C26CA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3DA84F80-6348-8B0C-08A5-53D8C4A07B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096F313-CABB-1879-A5AD-7236BBC7CB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7065F3-3E6B-4300-AA99-FDDDEDB490EF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5407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0C59F8-4184-4AD6-AFB9-85C5EB498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04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E0C59F8-4184-4AD6-AFB9-85C5EB498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Afbeelding 11">
            <a:extLst>
              <a:ext uri="{FF2B5EF4-FFF2-40B4-BE49-F238E27FC236}">
                <a16:creationId xmlns:a16="http://schemas.microsoft.com/office/drawing/2014/main" id="{DD7EC166-056B-43D2-8B57-4DEDB9CFA28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66763" y="5933306"/>
            <a:ext cx="2384452" cy="396057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26CB373-4709-4548-B912-A48F44B7596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764" y="1978736"/>
            <a:ext cx="8532018" cy="733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8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• Tekst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10C4A0F-1FB1-4B76-A331-9F1911DAC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69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10C4A0F-1FB1-4B76-A331-9F1911DAC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EEA653AA-3F68-44D4-BDE0-37313C6E86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D97A310-9AB6-4BD6-8AE9-0E6DA1DB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52EC91E3-7242-4D14-9F34-B1FF39E3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5106E6F-A17C-4DE5-A9F1-54D23CA2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4" name="Tijdelijke aanduiding voor tekst 4">
            <a:extLst>
              <a:ext uri="{FF2B5EF4-FFF2-40B4-BE49-F238E27FC236}">
                <a16:creationId xmlns:a16="http://schemas.microsoft.com/office/drawing/2014/main" id="{E81028E1-530F-43F2-A30E-0E089D7728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844676"/>
            <a:ext cx="10658475" cy="3816350"/>
          </a:xfrm>
        </p:spPr>
        <p:txBody>
          <a:bodyPr>
            <a:normAutofit/>
          </a:bodyPr>
          <a:lstStyle>
            <a:lvl1pPr marL="628650" indent="-628650">
              <a:buFont typeface="Gill Sans MT" panose="020B0502020104020203" pitchFamily="34" charset="0"/>
              <a:buChar char="•"/>
              <a:defRPr sz="4400" b="1">
                <a:solidFill>
                  <a:schemeClr val="tx2"/>
                </a:solidFill>
                <a:latin typeface="+mj-lt"/>
              </a:defRPr>
            </a:lvl1pPr>
            <a:lvl2pPr marL="1079500" indent="-436563">
              <a:defRPr sz="4400">
                <a:solidFill>
                  <a:schemeClr val="tx2"/>
                </a:solidFill>
                <a:latin typeface="+mj-lt"/>
              </a:defRPr>
            </a:lvl2pPr>
            <a:lvl3pPr marL="1524000" indent="-452438">
              <a:tabLst/>
              <a:defRPr sz="4400">
                <a:solidFill>
                  <a:schemeClr val="tx2"/>
                </a:solidFill>
                <a:latin typeface="+mj-lt"/>
              </a:defRPr>
            </a:lvl3pPr>
            <a:lvl4pPr marL="1790700" indent="-347663">
              <a:defRPr sz="4400">
                <a:solidFill>
                  <a:schemeClr val="tx2"/>
                </a:solidFill>
                <a:latin typeface="+mj-lt"/>
              </a:defRPr>
            </a:lvl4pPr>
            <a:lvl5pPr marL="2159000" indent="-363538">
              <a:defRPr sz="4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71771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27F16AC-B7EF-401F-8819-9AD2ABAAC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204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27F16AC-B7EF-401F-8819-9AD2ABAAC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B63BF92E-E41A-4FB0-A1A7-3CF719D29E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14" name="Tijdelijke aanduiding voor afbeelding 12">
            <a:extLst>
              <a:ext uri="{FF2B5EF4-FFF2-40B4-BE49-F238E27FC236}">
                <a16:creationId xmlns:a16="http://schemas.microsoft.com/office/drawing/2014/main" id="{9E8A8661-27CA-436C-A9EC-E4B4F07063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62307" y="0"/>
            <a:ext cx="5429693" cy="68580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404B77B-C10B-46A0-93F7-674B9F9B77B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6761" y="1765964"/>
            <a:ext cx="5653087" cy="409343"/>
          </a:xfrm>
        </p:spPr>
        <p:txBody>
          <a:bodyPr wrap="square" anchor="b">
            <a:spAutoFit/>
          </a:bodyPr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op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69644C28-3EE5-4B11-A0F4-2792F719A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168DEC5-DFFD-41EE-960D-EEF15BA714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2" y="817562"/>
            <a:ext cx="5653087" cy="526298"/>
          </a:xfrm>
        </p:spPr>
        <p:txBody>
          <a:bodyPr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BD7A6EAA-33CC-4331-ADBE-F44C6B3A5F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304000"/>
            <a:ext cx="5653087" cy="3357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err="1"/>
              <a:t>Bullet</a:t>
            </a:r>
            <a:r>
              <a:rPr lang="nl-NL"/>
              <a:t> weghalen &gt; backspac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4213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>
          <p15:clr>
            <a:srgbClr val="FBAE40"/>
          </p15:clr>
        </p15:guide>
        <p15:guide id="2" pos="404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2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27F16AC-B7EF-401F-8819-9AD2ABAAC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867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27F16AC-B7EF-401F-8819-9AD2ABAAC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B63BF92E-E41A-4FB0-A1A7-3CF719D29E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14" name="Tijdelijke aanduiding voor afbeelding 12">
            <a:extLst>
              <a:ext uri="{FF2B5EF4-FFF2-40B4-BE49-F238E27FC236}">
                <a16:creationId xmlns:a16="http://schemas.microsoft.com/office/drawing/2014/main" id="{9E8A8661-27CA-436C-A9EC-E4B4F07063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62306" y="0"/>
            <a:ext cx="5429693" cy="34308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404B77B-C10B-46A0-93F7-674B9F9B77B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6761" y="1765964"/>
            <a:ext cx="5653087" cy="409343"/>
          </a:xfrm>
        </p:spPr>
        <p:txBody>
          <a:bodyPr wrap="square" anchor="b">
            <a:spAutoFit/>
          </a:bodyPr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op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168DEC5-DFFD-41EE-960D-EEF15BA714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2" y="817562"/>
            <a:ext cx="5653087" cy="526298"/>
          </a:xfrm>
        </p:spPr>
        <p:txBody>
          <a:bodyPr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  <p:sp>
        <p:nvSpPr>
          <p:cNvPr id="15" name="Tijdelijke aanduiding voor afbeelding 12">
            <a:extLst>
              <a:ext uri="{FF2B5EF4-FFF2-40B4-BE49-F238E27FC236}">
                <a16:creationId xmlns:a16="http://schemas.microsoft.com/office/drawing/2014/main" id="{2EFF6B0E-D8A6-4E53-8A30-962775A57BF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62306" y="3427200"/>
            <a:ext cx="5429693" cy="34308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8FB17D7B-7700-4F11-8469-9BA60DCC4E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304000"/>
            <a:ext cx="5653087" cy="3357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err="1"/>
              <a:t>Bullet</a:t>
            </a:r>
            <a:r>
              <a:rPr lang="nl-NL"/>
              <a:t> weghalen &gt; backspac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69644C28-3EE5-4B11-A0F4-2792F719A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</p:spTree>
    <p:extLst>
      <p:ext uri="{BB962C8B-B14F-4D97-AF65-F5344CB8AC3E}">
        <p14:creationId xmlns:p14="http://schemas.microsoft.com/office/powerpoint/2010/main" val="4106089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3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27F16AC-B7EF-401F-8819-9AD2ABAAC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79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27F16AC-B7EF-401F-8819-9AD2ABAAC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B63BF92E-E41A-4FB0-A1A7-3CF719D29E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14" name="Tijdelijke aanduiding voor afbeelding 12">
            <a:extLst>
              <a:ext uri="{FF2B5EF4-FFF2-40B4-BE49-F238E27FC236}">
                <a16:creationId xmlns:a16="http://schemas.microsoft.com/office/drawing/2014/main" id="{9E8A8661-27CA-436C-A9EC-E4B4F07063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62307" y="0"/>
            <a:ext cx="5429693" cy="22860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404B77B-C10B-46A0-93F7-674B9F9B77B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6761" y="1765964"/>
            <a:ext cx="5653087" cy="409343"/>
          </a:xfrm>
        </p:spPr>
        <p:txBody>
          <a:bodyPr wrap="square" anchor="b">
            <a:spAutoFit/>
          </a:bodyPr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op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168DEC5-DFFD-41EE-960D-EEF15BA714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2" y="817562"/>
            <a:ext cx="5653087" cy="526298"/>
          </a:xfrm>
        </p:spPr>
        <p:txBody>
          <a:bodyPr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  <p:sp>
        <p:nvSpPr>
          <p:cNvPr id="15" name="Tijdelijke aanduiding voor afbeelding 12">
            <a:extLst>
              <a:ext uri="{FF2B5EF4-FFF2-40B4-BE49-F238E27FC236}">
                <a16:creationId xmlns:a16="http://schemas.microsoft.com/office/drawing/2014/main" id="{2EFF6B0E-D8A6-4E53-8A30-962775A57BF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62307" y="4572000"/>
            <a:ext cx="5429693" cy="22860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C2561FED-C2AC-4200-9591-AA1EDDA2E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62307" y="2286000"/>
            <a:ext cx="5429693" cy="2286000"/>
          </a:xfrm>
          <a:solidFill>
            <a:schemeClr val="bg2">
              <a:lumMod val="95000"/>
            </a:schemeClr>
          </a:solidFill>
        </p:spPr>
        <p:txBody>
          <a:bodyPr bIns="82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39549828-9BF2-4536-BB4E-FCCFE264B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304000"/>
            <a:ext cx="5653087" cy="3357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err="1"/>
              <a:t>Bullet</a:t>
            </a:r>
            <a:r>
              <a:rPr lang="nl-NL"/>
              <a:t> weghalen &gt; backspac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69644C28-3EE5-4B11-A0F4-2792F719A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</p:spTree>
    <p:extLst>
      <p:ext uri="{BB962C8B-B14F-4D97-AF65-F5344CB8AC3E}">
        <p14:creationId xmlns:p14="http://schemas.microsoft.com/office/powerpoint/2010/main" val="2126488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grafiek/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27F16AC-B7EF-401F-8819-9AD2ABAAC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72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27F16AC-B7EF-401F-8819-9AD2ABAAC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B63BF92E-E41A-4FB0-A1A7-3CF719D29E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404B77B-C10B-46A0-93F7-674B9F9B77B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66762" y="1765964"/>
            <a:ext cx="5652000" cy="409343"/>
          </a:xfrm>
        </p:spPr>
        <p:txBody>
          <a:bodyPr anchor="b">
            <a:spAutoFit/>
          </a:bodyPr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op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2E015E03-7C5C-41A7-ABFA-80A093348E8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65243" y="1736725"/>
            <a:ext cx="4859995" cy="219291"/>
          </a:xfrm>
          <a:prstGeom prst="rect">
            <a:avLst/>
          </a:prstGeom>
          <a:ln w="3175">
            <a:noFill/>
          </a:ln>
        </p:spPr>
        <p:txBody>
          <a:bodyPr wrap="square" bIns="0" anchor="t" anchorCtr="0">
            <a:spAutoFit/>
          </a:bodyPr>
          <a:lstStyle>
            <a:lvl1pPr marL="0" indent="0">
              <a:buNone/>
              <a:defRPr sz="1500" b="1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itel grafiek/tabel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3168DEC5-DFFD-41EE-960D-EEF15BA714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817562"/>
            <a:ext cx="10658475" cy="526298"/>
          </a:xfrm>
        </p:spPr>
        <p:txBody>
          <a:bodyPr/>
          <a:lstStyle>
            <a:lvl1pPr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nl-NL"/>
              <a:t>Titel</a:t>
            </a:r>
          </a:p>
        </p:txBody>
      </p:sp>
      <p:sp>
        <p:nvSpPr>
          <p:cNvPr id="19" name="Tijdelijke aanduiding voor inhoud 18">
            <a:extLst>
              <a:ext uri="{FF2B5EF4-FFF2-40B4-BE49-F238E27FC236}">
                <a16:creationId xmlns:a16="http://schemas.microsoft.com/office/drawing/2014/main" id="{8FA5AA75-895F-49E2-B76C-6A636BDA878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565243" y="2445488"/>
            <a:ext cx="4860000" cy="3215537"/>
          </a:xfrm>
        </p:spPr>
        <p:txBody>
          <a:bodyPr tIns="216000" anchor="ctr" anchorCtr="0">
            <a:norm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nl-NL"/>
              <a:t>Klik icoon om grafiek of tabel in te voegen</a:t>
            </a:r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1EFAF28B-AFF8-4C6A-B0A4-38AD04B5616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E820795-31BA-4EAC-82D5-AABEAD3970A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A1F2D02-C2BA-4CB5-9011-4CDD1DAD4D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ijdelijke aanduiding voor tekst 15">
            <a:extLst>
              <a:ext uri="{FF2B5EF4-FFF2-40B4-BE49-F238E27FC236}">
                <a16:creationId xmlns:a16="http://schemas.microsoft.com/office/drawing/2014/main" id="{0BEE21AE-1A9A-40B3-A0C6-C4E565B819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304000"/>
            <a:ext cx="5653087" cy="3357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err="1"/>
              <a:t>Bullet</a:t>
            </a:r>
            <a:r>
              <a:rPr lang="nl-NL"/>
              <a:t> weghalen &gt; backspace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449550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F46DAD8-144C-4D29-872A-BEF3E0869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F46DAD8-144C-4D29-872A-BEF3E08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43FAA4FA-C449-4C3E-88A4-00F19BD929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464DCC7E-3234-4958-B1F9-CFC39D5ACC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 bIns="828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nl-NL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12213616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F46DAD8-144C-4D29-872A-BEF3E0869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42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F46DAD8-144C-4D29-872A-BEF3E08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43FAA4FA-C449-4C3E-88A4-00F19BD929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13" name="Tijdelijke aanduiding voor afbeelding 12">
            <a:extLst>
              <a:ext uri="{FF2B5EF4-FFF2-40B4-BE49-F238E27FC236}">
                <a16:creationId xmlns:a16="http://schemas.microsoft.com/office/drawing/2014/main" id="{464DCC7E-3234-4958-B1F9-CFC39D5ACC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 bIns="828000"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nl-NL"/>
              <a:t>Klik op icoon om afbeelding in te voegen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8169FB90-BD3C-4DCE-B00E-1117E5777E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4" y="5901028"/>
            <a:ext cx="5608636" cy="510891"/>
          </a:xfrm>
          <a:solidFill>
            <a:schemeClr val="accent1"/>
          </a:solidFill>
        </p:spPr>
        <p:txBody>
          <a:bodyPr wrap="square" lIns="234000" tIns="72000" bIns="72000" anchor="ctr" anchorCtr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Bijschrift</a:t>
            </a:r>
          </a:p>
        </p:txBody>
      </p:sp>
    </p:spTree>
    <p:extLst>
      <p:ext uri="{BB962C8B-B14F-4D97-AF65-F5344CB8AC3E}">
        <p14:creationId xmlns:p14="http://schemas.microsoft.com/office/powerpoint/2010/main" val="829065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zwarte teks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115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44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6A53470-A34C-4182-951A-3E75A01B9F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0791" y="2047042"/>
            <a:ext cx="7058069" cy="1726627"/>
          </a:xfrm>
        </p:spPr>
        <p:txBody>
          <a:bodyPr anchor="t" anchorCtr="0"/>
          <a:lstStyle>
            <a:lvl1pPr>
              <a:lnSpc>
                <a:spcPct val="85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nl-NL"/>
              <a:t>Een quote, een vraag, een statement, een paradox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D442DE5B-01F4-42F1-9499-EB19D309C7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426" y="6225426"/>
            <a:ext cx="1107474" cy="183600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67CD3318-323A-4EA1-8356-C42A41815A6B}"/>
              </a:ext>
            </a:extLst>
          </p:cNvPr>
          <p:cNvGrpSpPr/>
          <p:nvPr userDrawn="1"/>
        </p:nvGrpSpPr>
        <p:grpSpPr>
          <a:xfrm>
            <a:off x="-1819275" y="2510309"/>
            <a:ext cx="1743075" cy="1837382"/>
            <a:chOff x="-1819275" y="1653118"/>
            <a:chExt cx="1743075" cy="1837382"/>
          </a:xfrm>
        </p:grpSpPr>
        <p:sp>
          <p:nvSpPr>
            <p:cNvPr id="22" name="TextBox 1">
              <a:extLst>
                <a:ext uri="{FF2B5EF4-FFF2-40B4-BE49-F238E27FC236}">
                  <a16:creationId xmlns:a16="http://schemas.microsoft.com/office/drawing/2014/main" id="{05D5353B-C975-4CBF-BD67-D5826A7AB9A5}"/>
                </a:ext>
              </a:extLst>
            </p:cNvPr>
            <p:cNvSpPr txBox="1"/>
            <p:nvPr userDrawn="1"/>
          </p:nvSpPr>
          <p:spPr>
            <a:xfrm>
              <a:off x="-1819275" y="1653118"/>
              <a:ext cx="1743075" cy="1523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nl-NL" sz="1100" b="1"/>
                <a:t>Om de achtergrondkleur te veranderen: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lik met je </a:t>
              </a:r>
              <a:r>
                <a:rPr lang="nl-NL" sz="1100" err="1"/>
                <a:t>rechter-muisknop</a:t>
              </a:r>
              <a:r>
                <a:rPr lang="nl-NL" sz="1100"/>
                <a:t> op de achtergrond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Ga naar Achtergrond opmaken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ies een kleur uit het kleurenschema:</a:t>
              </a:r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608B52F3-977F-4CED-955E-EE79C459D657}"/>
                </a:ext>
              </a:extLst>
            </p:cNvPr>
            <p:cNvSpPr/>
            <p:nvPr userDrawn="1"/>
          </p:nvSpPr>
          <p:spPr>
            <a:xfrm>
              <a:off x="-1638300" y="3238500"/>
              <a:ext cx="252000" cy="25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D877D999-0F45-4191-AE0D-B0C3B53079F7}"/>
                </a:ext>
              </a:extLst>
            </p:cNvPr>
            <p:cNvSpPr/>
            <p:nvPr userDrawn="1"/>
          </p:nvSpPr>
          <p:spPr>
            <a:xfrm>
              <a:off x="-1317625" y="3238500"/>
              <a:ext cx="252000" cy="25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7A2AAF5D-4619-496C-903C-944F32E4C0AB}"/>
                </a:ext>
              </a:extLst>
            </p:cNvPr>
            <p:cNvSpPr/>
            <p:nvPr userDrawn="1"/>
          </p:nvSpPr>
          <p:spPr>
            <a:xfrm>
              <a:off x="-996950" y="3238500"/>
              <a:ext cx="252000" cy="25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E8A56703-4BF5-4202-A83D-BB91217428A3}"/>
                </a:ext>
              </a:extLst>
            </p:cNvPr>
            <p:cNvSpPr/>
            <p:nvPr userDrawn="1"/>
          </p:nvSpPr>
          <p:spPr>
            <a:xfrm>
              <a:off x="-676275" y="3238500"/>
              <a:ext cx="252000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3481889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witte teks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1073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44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4667B2B-21F7-4845-9672-C1E1243197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766763" y="6226628"/>
            <a:ext cx="1105359" cy="1836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1A9FEA8-B1E6-4554-A4E5-FFBBBF6F7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0791" y="2047042"/>
            <a:ext cx="7058069" cy="1726627"/>
          </a:xfrm>
        </p:spPr>
        <p:txBody>
          <a:bodyPr anchor="t" anchorCtr="0"/>
          <a:lstStyle>
            <a:lvl1pPr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nl-NL"/>
              <a:t>Een quote, een vraag, een statement, een paradox</a:t>
            </a:r>
          </a:p>
        </p:txBody>
      </p:sp>
    </p:spTree>
    <p:extLst>
      <p:ext uri="{BB962C8B-B14F-4D97-AF65-F5344CB8AC3E}">
        <p14:creationId xmlns:p14="http://schemas.microsoft.com/office/powerpoint/2010/main" val="15758592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Woord - zwarte teks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53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D442DE5B-01F4-42F1-9499-EB19D309C7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426" y="6225426"/>
            <a:ext cx="1107474" cy="183600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10C4F8E7-E17A-433E-8E0E-76D45EBC8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2595014"/>
            <a:ext cx="10658475" cy="156966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12000">
                <a:solidFill>
                  <a:schemeClr val="tx2"/>
                </a:solidFill>
              </a:defRPr>
            </a:lvl1pPr>
          </a:lstStyle>
          <a:p>
            <a:r>
              <a:rPr lang="nl-NL"/>
              <a:t>woord</a:t>
            </a:r>
          </a:p>
        </p:txBody>
      </p:sp>
      <p:grpSp>
        <p:nvGrpSpPr>
          <p:cNvPr id="19" name="Groep 18">
            <a:extLst>
              <a:ext uri="{FF2B5EF4-FFF2-40B4-BE49-F238E27FC236}">
                <a16:creationId xmlns:a16="http://schemas.microsoft.com/office/drawing/2014/main" id="{6B7DC31A-F4AE-47B6-BCF9-91E8A6C58F7C}"/>
              </a:ext>
            </a:extLst>
          </p:cNvPr>
          <p:cNvGrpSpPr/>
          <p:nvPr userDrawn="1"/>
        </p:nvGrpSpPr>
        <p:grpSpPr>
          <a:xfrm>
            <a:off x="-1819275" y="2510309"/>
            <a:ext cx="1743075" cy="1837382"/>
            <a:chOff x="-1819275" y="1653118"/>
            <a:chExt cx="1743075" cy="1837382"/>
          </a:xfrm>
        </p:grpSpPr>
        <p:sp>
          <p:nvSpPr>
            <p:cNvPr id="21" name="TextBox 1">
              <a:extLst>
                <a:ext uri="{FF2B5EF4-FFF2-40B4-BE49-F238E27FC236}">
                  <a16:creationId xmlns:a16="http://schemas.microsoft.com/office/drawing/2014/main" id="{B0EF5E45-D0A6-4D77-AEC2-EB67D08AC8AF}"/>
                </a:ext>
              </a:extLst>
            </p:cNvPr>
            <p:cNvSpPr txBox="1"/>
            <p:nvPr userDrawn="1"/>
          </p:nvSpPr>
          <p:spPr>
            <a:xfrm>
              <a:off x="-1819275" y="1653118"/>
              <a:ext cx="1743075" cy="1523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nl-NL" sz="1100" b="1"/>
                <a:t>Om de achtergrondkleur te veranderen: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lik met je </a:t>
              </a:r>
              <a:r>
                <a:rPr lang="nl-NL" sz="1100" err="1"/>
                <a:t>rechter-muisknop</a:t>
              </a:r>
              <a:r>
                <a:rPr lang="nl-NL" sz="1100"/>
                <a:t> op de achtergrond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Ga naar Achtergrond opmaken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ies een kleur uit het kleurenschema:</a:t>
              </a:r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0B7C2630-4E53-4081-9EA3-D388C4BA98B9}"/>
                </a:ext>
              </a:extLst>
            </p:cNvPr>
            <p:cNvSpPr/>
            <p:nvPr userDrawn="1"/>
          </p:nvSpPr>
          <p:spPr>
            <a:xfrm>
              <a:off x="-1638300" y="3238500"/>
              <a:ext cx="252000" cy="25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3" name="Rechthoek 22">
              <a:extLst>
                <a:ext uri="{FF2B5EF4-FFF2-40B4-BE49-F238E27FC236}">
                  <a16:creationId xmlns:a16="http://schemas.microsoft.com/office/drawing/2014/main" id="{8565355F-FC75-4CED-9F93-9CF9598999D8}"/>
                </a:ext>
              </a:extLst>
            </p:cNvPr>
            <p:cNvSpPr/>
            <p:nvPr userDrawn="1"/>
          </p:nvSpPr>
          <p:spPr>
            <a:xfrm>
              <a:off x="-1317625" y="3238500"/>
              <a:ext cx="252000" cy="25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2D29BA69-8B9A-4C5F-9874-C03D1F421CB2}"/>
                </a:ext>
              </a:extLst>
            </p:cNvPr>
            <p:cNvSpPr/>
            <p:nvPr userDrawn="1"/>
          </p:nvSpPr>
          <p:spPr>
            <a:xfrm>
              <a:off x="-996950" y="3238500"/>
              <a:ext cx="252000" cy="25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33BA50E8-946F-4244-8C0B-D49308B33E68}"/>
                </a:ext>
              </a:extLst>
            </p:cNvPr>
            <p:cNvSpPr/>
            <p:nvPr userDrawn="1"/>
          </p:nvSpPr>
          <p:spPr>
            <a:xfrm>
              <a:off x="-676275" y="3238500"/>
              <a:ext cx="252000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3820707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126CD3-C197-4AF2-9374-D32B0225C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732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126CD3-C197-4AF2-9374-D32B0225C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hoek 10" hidden="1">
            <a:extLst>
              <a:ext uri="{FF2B5EF4-FFF2-40B4-BE49-F238E27FC236}">
                <a16:creationId xmlns:a16="http://schemas.microsoft.com/office/drawing/2014/main" id="{B231AF37-DA90-4D8B-996D-93C61AE161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76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7" name="Tijdelijke aanduiding voor voettekst 4">
            <a:extLst>
              <a:ext uri="{FF2B5EF4-FFF2-40B4-BE49-F238E27FC236}">
                <a16:creationId xmlns:a16="http://schemas.microsoft.com/office/drawing/2014/main" id="{E21A0E7F-281B-451C-9D48-2656B82CD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6762" y="4163160"/>
            <a:ext cx="10658476" cy="526298"/>
          </a:xfrm>
        </p:spPr>
        <p:txBody>
          <a:bodyPr anchor="t" anchorCtr="0"/>
          <a:lstStyle>
            <a:lvl1pPr>
              <a:lnSpc>
                <a:spcPct val="9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5EE1AE-7C91-4FED-94AF-42E045B49C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2" y="1935163"/>
            <a:ext cx="10658475" cy="994118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5000"/>
              </a:lnSpc>
              <a:defRPr sz="7600">
                <a:solidFill>
                  <a:schemeClr val="bg1"/>
                </a:solidFill>
              </a:defRPr>
            </a:lvl1pPr>
          </a:lstStyle>
          <a:p>
            <a:r>
              <a:rPr lang="nl-NL"/>
              <a:t>Titel presentatie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BB003E9-C10E-41A6-8ADC-E67F30A727C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763" y="5933306"/>
            <a:ext cx="2384452" cy="396057"/>
          </a:xfrm>
          <a:prstGeom prst="rect">
            <a:avLst/>
          </a:prstGeom>
        </p:spPr>
      </p:pic>
      <p:sp>
        <p:nvSpPr>
          <p:cNvPr id="14" name="Tijdelijke aanduiding voor datum 13">
            <a:extLst>
              <a:ext uri="{FF2B5EF4-FFF2-40B4-BE49-F238E27FC236}">
                <a16:creationId xmlns:a16="http://schemas.microsoft.com/office/drawing/2014/main" id="{2C643E25-DCE7-491E-95A7-34174E71D7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15534" y="6100613"/>
            <a:ext cx="1681551" cy="276999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r>
              <a:rPr lang="nl-NL"/>
              <a:t>1 februari 2019</a:t>
            </a:r>
          </a:p>
        </p:txBody>
      </p:sp>
    </p:spTree>
    <p:extLst>
      <p:ext uri="{BB962C8B-B14F-4D97-AF65-F5344CB8AC3E}">
        <p14:creationId xmlns:p14="http://schemas.microsoft.com/office/powerpoint/2010/main" val="217825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Woord - witte teks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781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4667B2B-21F7-4845-9672-C1E1243197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766763" y="6226628"/>
            <a:ext cx="1105359" cy="1836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31A9FEA8-B1E6-4554-A4E5-FFBBBF6F7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2595014"/>
            <a:ext cx="10658475" cy="1569660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12000">
                <a:solidFill>
                  <a:schemeClr val="bg1"/>
                </a:solidFill>
              </a:defRPr>
            </a:lvl1pPr>
          </a:lstStyle>
          <a:p>
            <a:r>
              <a:rPr lang="nl-NL"/>
              <a:t>woord</a:t>
            </a:r>
          </a:p>
        </p:txBody>
      </p:sp>
    </p:spTree>
    <p:extLst>
      <p:ext uri="{BB962C8B-B14F-4D97-AF65-F5344CB8AC3E}">
        <p14:creationId xmlns:p14="http://schemas.microsoft.com/office/powerpoint/2010/main" val="26411909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9126CD3-C197-4AF2-9374-D32B0225C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2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9126CD3-C197-4AF2-9374-D32B0225C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hoek 10" hidden="1">
            <a:extLst>
              <a:ext uri="{FF2B5EF4-FFF2-40B4-BE49-F238E27FC236}">
                <a16:creationId xmlns:a16="http://schemas.microsoft.com/office/drawing/2014/main" id="{B231AF37-DA90-4D8B-996D-93C61AE161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76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5EE1AE-7C91-4FED-94AF-42E045B49C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2" y="1989134"/>
            <a:ext cx="10658475" cy="994118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85000"/>
              </a:lnSpc>
              <a:defRPr sz="7600">
                <a:solidFill>
                  <a:schemeClr val="bg1"/>
                </a:solidFill>
              </a:defRPr>
            </a:lvl1pPr>
          </a:lstStyle>
          <a:p>
            <a:r>
              <a:rPr lang="nl-NL"/>
              <a:t>Afsluiting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CD30727-D67A-4936-A43C-0B5F765CA51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763" y="6226628"/>
            <a:ext cx="1105359" cy="183600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F22FBEEB-70D5-42AC-B8DF-E4E6793D9EA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43585" y="6204147"/>
            <a:ext cx="2338278" cy="200977"/>
          </a:xfrm>
          <a:prstGeom prst="rect">
            <a:avLst/>
          </a:prstGeom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0BE41749-929D-4065-8ACD-B83F2C6789E1}"/>
              </a:ext>
            </a:extLst>
          </p:cNvPr>
          <p:cNvSpPr txBox="1"/>
          <p:nvPr userDrawn="1"/>
        </p:nvSpPr>
        <p:spPr>
          <a:xfrm>
            <a:off x="10254124" y="6148941"/>
            <a:ext cx="110126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nl-NL" sz="2000" b="1">
                <a:solidFill>
                  <a:schemeClr val="bg1"/>
                </a:solidFill>
                <a:latin typeface="+mj-lt"/>
              </a:rPr>
              <a:t>emma.nl</a:t>
            </a:r>
          </a:p>
        </p:txBody>
      </p:sp>
    </p:spTree>
    <p:extLst>
      <p:ext uri="{BB962C8B-B14F-4D97-AF65-F5344CB8AC3E}">
        <p14:creationId xmlns:p14="http://schemas.microsoft.com/office/powerpoint/2010/main" val="14947226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F46DAD8-144C-4D29-872A-BEF3E0869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287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F46DAD8-144C-4D29-872A-BEF3E08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43FAA4FA-C449-4C3E-88A4-00F19BD929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2BED0F-EDFF-4D2E-A5D6-E76CEEA53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8" name="Tijdelijke aanduiding voor datum 7">
            <a:extLst>
              <a:ext uri="{FF2B5EF4-FFF2-40B4-BE49-F238E27FC236}">
                <a16:creationId xmlns:a16="http://schemas.microsoft.com/office/drawing/2014/main" id="{673DB3DB-1CC6-4A7B-A5CC-49E819D30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9" name="Tijdelijke aanduiding voor voettekst 8">
            <a:extLst>
              <a:ext uri="{FF2B5EF4-FFF2-40B4-BE49-F238E27FC236}">
                <a16:creationId xmlns:a16="http://schemas.microsoft.com/office/drawing/2014/main" id="{D80A693C-1E2D-4272-BC3B-5A16D77A6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3798A2E9-804D-4453-B440-F37003E16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9366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- zwarte teks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8535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7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6A53470-A34C-4182-951A-3E75A01B9F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935163"/>
            <a:ext cx="10658475" cy="967957"/>
          </a:xfrm>
        </p:spPr>
        <p:txBody>
          <a:bodyPr anchor="t" anchorCtr="0"/>
          <a:lstStyle>
            <a:lvl1pPr>
              <a:lnSpc>
                <a:spcPct val="85000"/>
              </a:lnSpc>
              <a:defRPr sz="7400">
                <a:solidFill>
                  <a:schemeClr val="tx2"/>
                </a:solidFill>
              </a:defRPr>
            </a:lvl1pPr>
          </a:lstStyle>
          <a:p>
            <a:r>
              <a:rPr lang="nl-NL"/>
              <a:t>Hoofdstuktitel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D442DE5B-01F4-42F1-9499-EB19D309C7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9426" y="6225426"/>
            <a:ext cx="1107474" cy="183600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C539675C-14F5-419E-9CBC-26A27D6D0CB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896090" y="6203524"/>
            <a:ext cx="2385773" cy="201600"/>
          </a:xfrm>
          <a:prstGeom prst="rect">
            <a:avLst/>
          </a:prstGeom>
        </p:spPr>
      </p:pic>
      <p:grpSp>
        <p:nvGrpSpPr>
          <p:cNvPr id="23" name="Groep 22">
            <a:extLst>
              <a:ext uri="{FF2B5EF4-FFF2-40B4-BE49-F238E27FC236}">
                <a16:creationId xmlns:a16="http://schemas.microsoft.com/office/drawing/2014/main" id="{4A6843E4-327C-4451-A984-CCEC0FF0EEAD}"/>
              </a:ext>
            </a:extLst>
          </p:cNvPr>
          <p:cNvGrpSpPr/>
          <p:nvPr userDrawn="1"/>
        </p:nvGrpSpPr>
        <p:grpSpPr>
          <a:xfrm>
            <a:off x="-1819275" y="2510309"/>
            <a:ext cx="1743075" cy="1837382"/>
            <a:chOff x="-1819275" y="1653118"/>
            <a:chExt cx="1743075" cy="1837382"/>
          </a:xfrm>
        </p:grpSpPr>
        <p:sp>
          <p:nvSpPr>
            <p:cNvPr id="18" name="TextBox 1">
              <a:extLst>
                <a:ext uri="{FF2B5EF4-FFF2-40B4-BE49-F238E27FC236}">
                  <a16:creationId xmlns:a16="http://schemas.microsoft.com/office/drawing/2014/main" id="{85F545C1-3DC0-492D-93F7-19A435868A7F}"/>
                </a:ext>
              </a:extLst>
            </p:cNvPr>
            <p:cNvSpPr txBox="1"/>
            <p:nvPr userDrawn="1"/>
          </p:nvSpPr>
          <p:spPr>
            <a:xfrm>
              <a:off x="-1819275" y="1653118"/>
              <a:ext cx="1743075" cy="15234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nl-NL" sz="1100" b="1"/>
                <a:t>Om de achtergrondkleur te veranderen: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lik met je </a:t>
              </a:r>
              <a:r>
                <a:rPr lang="nl-NL" sz="1100" err="1"/>
                <a:t>rechter-muisknop</a:t>
              </a:r>
              <a:r>
                <a:rPr lang="nl-NL" sz="1100"/>
                <a:t> op de achtergrond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Ga naar Achtergrond opmaken</a:t>
              </a:r>
            </a:p>
            <a:p>
              <a:pPr marL="171446" indent="-171446" algn="l">
                <a:buFont typeface="Lato" panose="020F0502020204030203" pitchFamily="34" charset="0"/>
                <a:buChar char="–"/>
              </a:pPr>
              <a:r>
                <a:rPr lang="nl-NL" sz="1100"/>
                <a:t>Kies een kleur uit het kleurenschema:</a:t>
              </a:r>
            </a:p>
          </p:txBody>
        </p:sp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C5458989-E016-4FC0-98C8-D3F2B0D71D93}"/>
                </a:ext>
              </a:extLst>
            </p:cNvPr>
            <p:cNvSpPr/>
            <p:nvPr userDrawn="1"/>
          </p:nvSpPr>
          <p:spPr>
            <a:xfrm>
              <a:off x="-1638300" y="3238500"/>
              <a:ext cx="252000" cy="25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id="{D6F2AC22-9C5A-40BF-BE4A-B0BA3BB08D9B}"/>
                </a:ext>
              </a:extLst>
            </p:cNvPr>
            <p:cNvSpPr/>
            <p:nvPr userDrawn="1"/>
          </p:nvSpPr>
          <p:spPr>
            <a:xfrm>
              <a:off x="-1317625" y="3238500"/>
              <a:ext cx="252000" cy="25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5A2EC1A7-1309-49AB-B4E8-1EA2B227CE5E}"/>
                </a:ext>
              </a:extLst>
            </p:cNvPr>
            <p:cNvSpPr/>
            <p:nvPr userDrawn="1"/>
          </p:nvSpPr>
          <p:spPr>
            <a:xfrm>
              <a:off x="-996950" y="3238500"/>
              <a:ext cx="252000" cy="25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13EE35E3-E7B3-4701-8D29-03032DE9A695}"/>
                </a:ext>
              </a:extLst>
            </p:cNvPr>
            <p:cNvSpPr/>
            <p:nvPr userDrawn="1"/>
          </p:nvSpPr>
          <p:spPr>
            <a:xfrm>
              <a:off x="-676275" y="3238500"/>
              <a:ext cx="252000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2892098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- witte teks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F8DC925-72ED-4D35-86A7-DE65A0F545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844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F8DC925-72ED-4D35-86A7-DE65A0F54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hoek 11" hidden="1">
            <a:extLst>
              <a:ext uri="{FF2B5EF4-FFF2-40B4-BE49-F238E27FC236}">
                <a16:creationId xmlns:a16="http://schemas.microsoft.com/office/drawing/2014/main" id="{9CAAB316-CBBD-4E97-8292-99E255A5CA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nl-NL" sz="7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6A53470-A34C-4182-951A-3E75A01B9F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935163"/>
            <a:ext cx="10658475" cy="967957"/>
          </a:xfrm>
        </p:spPr>
        <p:txBody>
          <a:bodyPr anchor="t" anchorCtr="0"/>
          <a:lstStyle>
            <a:lvl1pPr>
              <a:lnSpc>
                <a:spcPct val="85000"/>
              </a:lnSpc>
              <a:defRPr sz="7400">
                <a:solidFill>
                  <a:schemeClr val="bg1"/>
                </a:solidFill>
              </a:defRPr>
            </a:lvl1pPr>
          </a:lstStyle>
          <a:p>
            <a:r>
              <a:rPr lang="nl-NL"/>
              <a:t>Hoofdstuktitel</a:t>
            </a: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4667B2B-21F7-4845-9672-C1E1243197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766763" y="6226628"/>
            <a:ext cx="1105359" cy="183600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5FF43B28-ACA3-4669-8EFB-1E193559AA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4943585" y="6204147"/>
            <a:ext cx="2338278" cy="200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841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sopgav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CB01BD0-CD8D-4F4A-9FD3-A5EBC8781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945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CB01BD0-CD8D-4F4A-9FD3-A5EBC8781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9704AE84-087C-4946-9B3D-9D5387493C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Inhoudsopgav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02C1622-E802-4D37-A59A-91E871A36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1 februari 2019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0E08AFD-ABFF-46FA-BAAE-0F6742A02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AFA823C-C79B-43FF-B868-1CE6C44E0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AF00DA7D-7E0E-4674-AC09-2E59025800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>
            <a:normAutofit/>
          </a:bodyPr>
          <a:lstStyle>
            <a:lvl1pPr marL="536575" indent="-536575">
              <a:lnSpc>
                <a:spcPct val="95000"/>
              </a:lnSpc>
              <a:buClr>
                <a:schemeClr val="bg1"/>
              </a:buClr>
              <a:buFont typeface="+mj-lt"/>
              <a:buAutoNum type="arabicPeriod"/>
              <a:defRPr sz="3000" b="1">
                <a:latin typeface="+mj-lt"/>
              </a:defRPr>
            </a:lvl1pPr>
            <a:lvl2pPr marL="900113" indent="-347663">
              <a:lnSpc>
                <a:spcPct val="95000"/>
              </a:lnSpc>
              <a:buClr>
                <a:schemeClr val="bg1"/>
              </a:buClr>
              <a:defRPr sz="3000" b="1">
                <a:latin typeface="+mj-lt"/>
              </a:defRPr>
            </a:lvl2pPr>
            <a:lvl3pPr marL="1611313" indent="-363538" defTabSz="900113">
              <a:lnSpc>
                <a:spcPct val="95000"/>
              </a:lnSpc>
              <a:buClr>
                <a:schemeClr val="bg1"/>
              </a:buClr>
              <a:defRPr sz="3000" b="1">
                <a:latin typeface="+mj-lt"/>
              </a:defRPr>
            </a:lvl3pPr>
            <a:lvl4pPr marL="1973263" indent="-347663">
              <a:lnSpc>
                <a:spcPct val="95000"/>
              </a:lnSpc>
              <a:defRPr sz="3000" b="1">
                <a:latin typeface="+mj-lt"/>
              </a:defRPr>
            </a:lvl4pPr>
            <a:lvl5pPr marL="2336800" indent="-363538">
              <a:lnSpc>
                <a:spcPct val="95000"/>
              </a:lnSpc>
              <a:defRPr sz="3000" b="1">
                <a:latin typeface="+mj-lt"/>
              </a:defRPr>
            </a:lvl5pPr>
          </a:lstStyle>
          <a:p>
            <a:pPr lvl="0"/>
            <a:r>
              <a:rPr lang="nl-NL"/>
              <a:t>Korte titel</a:t>
            </a:r>
          </a:p>
          <a:p>
            <a:pPr lvl="1"/>
            <a:r>
              <a:rPr lang="nl-NL"/>
              <a:t>Sub paragraaf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1B183829-C3BD-4372-AABA-47E7D8D1D4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66763" y="6226628"/>
            <a:ext cx="1105359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715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2747340-AFC3-4B8C-9BD6-E6617997A2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076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2747340-AFC3-4B8C-9BD6-E6617997A2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 hidden="1">
            <a:extLst>
              <a:ext uri="{FF2B5EF4-FFF2-40B4-BE49-F238E27FC236}">
                <a16:creationId xmlns:a16="http://schemas.microsoft.com/office/drawing/2014/main" id="{5CD967E3-C492-42FF-A66E-EF02C7A377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 err="1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70F8667-B0BF-46C9-BBF3-4AB2190E22F7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Backspace om </a:t>
            </a:r>
            <a:r>
              <a:rPr lang="nl-NL" err="1"/>
              <a:t>bullet</a:t>
            </a:r>
            <a:r>
              <a:rPr lang="nl-NL"/>
              <a:t> weg te hal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D97A310-9AB6-4BD6-8AE9-0E6DA1DB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52EC91E3-7242-4D14-9F34-B1FF39E3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5106E6F-A17C-4DE5-A9F1-54D23CA2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5841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FE2F2-5E8D-492A-86C4-9FCF00984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899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FE2F2-5E8D-492A-86C4-9FCF00984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4B874B4E-ABC7-4739-9CDA-5D62EE8E8B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70F8667-B0BF-46C9-BBF3-4AB2190E22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2420938"/>
            <a:ext cx="10658475" cy="3240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/>
              <a:t>Backspace om </a:t>
            </a:r>
            <a:r>
              <a:rPr lang="nl-NL" err="1"/>
              <a:t>bullet</a:t>
            </a:r>
            <a:r>
              <a:rPr lang="nl-NL"/>
              <a:t> weg te hal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D97A310-9AB6-4BD6-8AE9-0E6DA1DB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52EC91E3-7242-4D14-9F34-B1FF39E3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5106E6F-A17C-4DE5-A9F1-54D23CA2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ijdelijke aanduiding voor tekst 12">
            <a:extLst>
              <a:ext uri="{FF2B5EF4-FFF2-40B4-BE49-F238E27FC236}">
                <a16:creationId xmlns:a16="http://schemas.microsoft.com/office/drawing/2014/main" id="{5E4734B9-1FEE-4369-877C-9AC8EBA52E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594626"/>
            <a:ext cx="10658475" cy="438582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3000" b="1">
                <a:solidFill>
                  <a:schemeClr val="accent1"/>
                </a:solidFill>
                <a:latin typeface="+mj-lt"/>
              </a:defRPr>
            </a:lvl1pPr>
            <a:lvl2pPr marL="727075" indent="0">
              <a:buFont typeface="Arial" panose="020B0604020202020204" pitchFamily="34" charset="0"/>
              <a:buNone/>
              <a:defRPr/>
            </a:lvl2pPr>
            <a:lvl3pPr marL="1436687" indent="0">
              <a:buFont typeface="Arial" panose="020B0604020202020204" pitchFamily="34" charset="0"/>
              <a:buNone/>
              <a:defRPr/>
            </a:lvl3pPr>
            <a:lvl4pPr marL="1800225" indent="0">
              <a:buFont typeface="Arial" panose="020B0604020202020204" pitchFamily="34" charset="0"/>
              <a:buNone/>
              <a:defRPr/>
            </a:lvl4pPr>
            <a:lvl5pPr marL="2147887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nl-NL"/>
              <a:t>Subtitel over 1 regel</a:t>
            </a:r>
          </a:p>
        </p:txBody>
      </p:sp>
    </p:spTree>
    <p:extLst>
      <p:ext uri="{BB962C8B-B14F-4D97-AF65-F5344CB8AC3E}">
        <p14:creationId xmlns:p14="http://schemas.microsoft.com/office/powerpoint/2010/main" val="1050200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 Tekst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10C4A0F-1FB1-4B76-A331-9F1911DAC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246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10C4A0F-1FB1-4B76-A331-9F1911DAC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EEA653AA-3F68-44D4-BDE0-37313C6E86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D97A310-9AB6-4BD6-8AE9-0E6DA1DB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52EC91E3-7242-4D14-9F34-B1FF39E3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5106E6F-A17C-4DE5-A9F1-54D23CA2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830855CF-FECA-4640-B62E-21262C9684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844676"/>
            <a:ext cx="10658475" cy="3816350"/>
          </a:xfrm>
        </p:spPr>
        <p:txBody>
          <a:bodyPr>
            <a:normAutofit/>
          </a:bodyPr>
          <a:lstStyle>
            <a:lvl1pPr marL="628650" indent="-628650">
              <a:buFont typeface="Gill Sans MT" panose="020B0502020104020203" pitchFamily="34" charset="0"/>
              <a:buChar char="+"/>
              <a:defRPr sz="4400" b="1">
                <a:solidFill>
                  <a:schemeClr val="tx2"/>
                </a:solidFill>
                <a:latin typeface="+mj-lt"/>
              </a:defRPr>
            </a:lvl1pPr>
            <a:lvl2pPr marL="1079500" indent="-436563">
              <a:defRPr sz="4400">
                <a:solidFill>
                  <a:schemeClr val="tx2"/>
                </a:solidFill>
                <a:latin typeface="+mj-lt"/>
              </a:defRPr>
            </a:lvl2pPr>
            <a:lvl3pPr marL="1524000" indent="-452438">
              <a:tabLst/>
              <a:defRPr sz="4400">
                <a:solidFill>
                  <a:schemeClr val="tx2"/>
                </a:solidFill>
                <a:latin typeface="+mj-lt"/>
              </a:defRPr>
            </a:lvl3pPr>
            <a:lvl4pPr marL="1790700" indent="-347663">
              <a:defRPr sz="4400">
                <a:solidFill>
                  <a:schemeClr val="tx2"/>
                </a:solidFill>
                <a:latin typeface="+mj-lt"/>
              </a:defRPr>
            </a:lvl4pPr>
            <a:lvl5pPr marL="2159000" indent="-363538">
              <a:defRPr sz="4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84291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: Tekst gro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10C4A0F-1FB1-4B76-A331-9F1911DAC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8854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10C4A0F-1FB1-4B76-A331-9F1911DAC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EEA653AA-3F68-44D4-BDE0-37313C6E86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0" i="0" baseline="0">
              <a:latin typeface="Campton-Bold" pitchFamily="2" charset="0"/>
              <a:ea typeface="+mj-ea"/>
              <a:cs typeface="+mj-cs"/>
              <a:sym typeface="Campton-Bold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E9442A-902C-4DDF-B27F-D5837F86A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D97A310-9AB6-4BD6-8AE9-0E6DA1DB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 februari 2019</a:t>
            </a:r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52EC91E3-7242-4D14-9F34-B1FF39E3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65106E6F-A17C-4DE5-A9F1-54D23CA2B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4" name="Tijdelijke aanduiding voor tekst 4">
            <a:extLst>
              <a:ext uri="{FF2B5EF4-FFF2-40B4-BE49-F238E27FC236}">
                <a16:creationId xmlns:a16="http://schemas.microsoft.com/office/drawing/2014/main" id="{C8A6C423-74AB-479B-80F1-081E8836EB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844676"/>
            <a:ext cx="10658475" cy="3816350"/>
          </a:xfrm>
        </p:spPr>
        <p:txBody>
          <a:bodyPr>
            <a:normAutofit/>
          </a:bodyPr>
          <a:lstStyle>
            <a:lvl1pPr marL="628650" indent="-628650">
              <a:buFont typeface="Gill Sans MT" panose="020B0502020104020203" pitchFamily="34" charset="0"/>
              <a:buChar char=":"/>
              <a:defRPr sz="4400" b="1">
                <a:solidFill>
                  <a:schemeClr val="tx2"/>
                </a:solidFill>
                <a:latin typeface="+mj-lt"/>
              </a:defRPr>
            </a:lvl1pPr>
            <a:lvl2pPr marL="1079500" indent="-436563">
              <a:defRPr sz="4400">
                <a:solidFill>
                  <a:schemeClr val="tx2"/>
                </a:solidFill>
                <a:latin typeface="+mj-lt"/>
              </a:defRPr>
            </a:lvl2pPr>
            <a:lvl3pPr marL="1524000" indent="-452438">
              <a:tabLst/>
              <a:defRPr sz="4400">
                <a:solidFill>
                  <a:schemeClr val="tx2"/>
                </a:solidFill>
                <a:latin typeface="+mj-lt"/>
              </a:defRPr>
            </a:lvl3pPr>
            <a:lvl4pPr marL="1790700" indent="-347663">
              <a:defRPr sz="4400">
                <a:solidFill>
                  <a:schemeClr val="tx2"/>
                </a:solidFill>
                <a:latin typeface="+mj-lt"/>
              </a:defRPr>
            </a:lvl4pPr>
            <a:lvl5pPr marL="2159000" indent="-363538">
              <a:defRPr sz="4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52664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>
            <a:extLst>
              <a:ext uri="{FF2B5EF4-FFF2-40B4-BE49-F238E27FC236}">
                <a16:creationId xmlns:a16="http://schemas.microsoft.com/office/drawing/2014/main" id="{2F707D44-B959-47DA-A578-48256D9321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12658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38" imgH="337" progId="TCLayout.ActiveDocument.1">
                  <p:embed/>
                </p:oleObj>
              </mc:Choice>
              <mc:Fallback>
                <p:oleObj name="think-cell Slide" r:id="rId26" imgW="338" imgH="337" progId="TCLayout.ActiveDocument.1">
                  <p:embed/>
                  <p:pic>
                    <p:nvPicPr>
                      <p:cNvPr id="74" name="Object 73" hidden="1">
                        <a:extLst>
                          <a:ext uri="{FF2B5EF4-FFF2-40B4-BE49-F238E27FC236}">
                            <a16:creationId xmlns:a16="http://schemas.microsoft.com/office/drawing/2014/main" id="{2F707D44-B959-47DA-A578-48256D9321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hthoek 72" hidden="1">
            <a:extLst>
              <a:ext uri="{FF2B5EF4-FFF2-40B4-BE49-F238E27FC236}">
                <a16:creationId xmlns:a16="http://schemas.microsoft.com/office/drawing/2014/main" id="{6FA52F36-F648-45C8-863A-990A97EF00E9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400" b="1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3DB43023-3DF1-4F61-9A2F-06BE0CD13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68C3D2B-0830-4052-A29F-50611FCEEB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2097088"/>
            <a:ext cx="10658475" cy="35639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3BD978D-F3D8-47DB-B331-1E28EE69DE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74982" y="6253936"/>
            <a:ext cx="1122102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l-NL"/>
              <a:t>1 februari 2019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1A4C4FC-9315-48AA-BD18-6EF1F4391C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68941" y="6253936"/>
            <a:ext cx="5292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l-NL"/>
              <a:t>Opdrachtgever/project: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A4BCD17-18BE-4C3F-9325-AF60166407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25175" y="6253936"/>
            <a:ext cx="500063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l-NL"/>
              <a:t>P </a:t>
            </a:r>
            <a:fld id="{DB9E5B86-A92A-4C69-8F4A-47B6D2906E90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75" name="Afbeelding 74">
            <a:extLst>
              <a:ext uri="{FF2B5EF4-FFF2-40B4-BE49-F238E27FC236}">
                <a16:creationId xmlns:a16="http://schemas.microsoft.com/office/drawing/2014/main" id="{80B4B9BE-D562-4F36-A4FA-192BE152053F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766763" y="6226628"/>
            <a:ext cx="1100137" cy="182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272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1" r:id="rId3"/>
    <p:sldLayoutId id="2147483660" r:id="rId4"/>
    <p:sldLayoutId id="2147483657" r:id="rId5"/>
    <p:sldLayoutId id="2147483650" r:id="rId6"/>
    <p:sldLayoutId id="2147483674" r:id="rId7"/>
    <p:sldLayoutId id="2147483671" r:id="rId8"/>
    <p:sldLayoutId id="2147483673" r:id="rId9"/>
    <p:sldLayoutId id="2147483672" r:id="rId10"/>
    <p:sldLayoutId id="2147483668" r:id="rId11"/>
    <p:sldLayoutId id="2147483669" r:id="rId12"/>
    <p:sldLayoutId id="2147483670" r:id="rId13"/>
    <p:sldLayoutId id="2147483653" r:id="rId14"/>
    <p:sldLayoutId id="2147483667" r:id="rId15"/>
    <p:sldLayoutId id="2147483666" r:id="rId16"/>
    <p:sldLayoutId id="2147483662" r:id="rId17"/>
    <p:sldLayoutId id="2147483663" r:id="rId18"/>
    <p:sldLayoutId id="2147483664" r:id="rId19"/>
    <p:sldLayoutId id="2147483665" r:id="rId20"/>
    <p:sldLayoutId id="2147483659" r:id="rId21"/>
    <p:sldLayoutId id="2147483654" r:id="rId2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3538" indent="-363538" algn="l" defTabSz="914400" rtl="0" eaLnBrk="1" latinLnBrk="0" hangingPunct="1">
        <a:lnSpc>
          <a:spcPct val="95000"/>
        </a:lnSpc>
        <a:spcBef>
          <a:spcPts val="0"/>
        </a:spcBef>
        <a:buClr>
          <a:schemeClr val="accent1"/>
        </a:buClr>
        <a:buSzPct val="110000"/>
        <a:buFont typeface="Corbel" panose="020B0503020204020204" pitchFamily="34" charset="0"/>
        <a:buChar char="+"/>
        <a:defRPr sz="2800" kern="1200" spc="0" baseline="0">
          <a:solidFill>
            <a:schemeClr val="tx2"/>
          </a:solidFill>
          <a:latin typeface="+mn-lt"/>
          <a:ea typeface="+mn-ea"/>
          <a:cs typeface="+mn-cs"/>
        </a:defRPr>
      </a:lvl1pPr>
      <a:lvl2pPr marL="1074738" indent="-347663" algn="l" defTabSz="914400" rtl="0" eaLnBrk="1" latinLnBrk="0" hangingPunct="1">
        <a:lnSpc>
          <a:spcPct val="95000"/>
        </a:lnSpc>
        <a:spcBef>
          <a:spcPts val="0"/>
        </a:spcBef>
        <a:buClr>
          <a:schemeClr val="accent1"/>
        </a:buClr>
        <a:buSzPct val="110000"/>
        <a:buFont typeface="Corbel" panose="020B0503020204020204" pitchFamily="34" charset="0"/>
        <a:buChar char="–"/>
        <a:defRPr sz="2800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1800225" indent="-363538" algn="l" defTabSz="914400" rtl="0" eaLnBrk="1" latinLnBrk="0" hangingPunct="1">
        <a:lnSpc>
          <a:spcPct val="95000"/>
        </a:lnSpc>
        <a:spcBef>
          <a:spcPts val="0"/>
        </a:spcBef>
        <a:buClr>
          <a:schemeClr val="accent1"/>
        </a:buClr>
        <a:buFont typeface="Corbel" panose="020B0503020204020204" pitchFamily="34" charset="0"/>
        <a:buChar char="•"/>
        <a:defRPr sz="2800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2147888" indent="-347663" algn="l" defTabSz="914400" rtl="0" eaLnBrk="1" latinLnBrk="0" hangingPunct="1">
        <a:lnSpc>
          <a:spcPct val="95000"/>
        </a:lnSpc>
        <a:spcBef>
          <a:spcPts val="0"/>
        </a:spcBef>
        <a:buFont typeface="Corbel" panose="020B0503020204020204" pitchFamily="34" charset="0"/>
        <a:buChar char="•"/>
        <a:defRPr sz="2800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2511425" indent="-363538" algn="l" defTabSz="914400" rtl="0" eaLnBrk="1" latinLnBrk="0" hangingPunct="1">
        <a:lnSpc>
          <a:spcPct val="95000"/>
        </a:lnSpc>
        <a:spcBef>
          <a:spcPts val="0"/>
        </a:spcBef>
        <a:buFont typeface="Corbel" panose="020B0503020204020204" pitchFamily="34" charset="0"/>
        <a:buChar char="•"/>
        <a:defRPr sz="2800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 userDrawn="1">
          <p15:clr>
            <a:srgbClr val="F26B43"/>
          </p15:clr>
        </p15:guide>
        <p15:guide id="3" pos="7197" userDrawn="1">
          <p15:clr>
            <a:srgbClr val="F26B43"/>
          </p15:clr>
        </p15:guide>
        <p15:guide id="4" orient="horz" pos="35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447BCD5-E6AC-999C-B7D7-7F7F5E10E3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6762" y="1935163"/>
            <a:ext cx="10658475" cy="994118"/>
          </a:xfrm>
        </p:spPr>
        <p:txBody>
          <a:bodyPr/>
          <a:lstStyle/>
          <a:p>
            <a:r>
              <a:rPr lang="nl-NL"/>
              <a:t>Jongerenparticipati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D466733-98AA-E6F5-DC0C-A1A25412C7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20344" y="6100613"/>
            <a:ext cx="1676741" cy="276999"/>
          </a:xfrm>
        </p:spPr>
        <p:txBody>
          <a:bodyPr/>
          <a:lstStyle/>
          <a:p>
            <a:r>
              <a:rPr lang="nl-NL"/>
              <a:t>23 januari 2025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7B1D488-A81A-845B-C038-413C7F9D6A85}"/>
              </a:ext>
            </a:extLst>
          </p:cNvPr>
          <p:cNvSpPr txBox="1"/>
          <p:nvPr/>
        </p:nvSpPr>
        <p:spPr>
          <a:xfrm>
            <a:off x="2761306" y="3152001"/>
            <a:ext cx="688968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3600"/>
              <a:t>Van school naar duurzaam werk</a:t>
            </a:r>
          </a:p>
        </p:txBody>
      </p:sp>
    </p:spTree>
    <p:extLst>
      <p:ext uri="{BB962C8B-B14F-4D97-AF65-F5344CB8AC3E}">
        <p14:creationId xmlns:p14="http://schemas.microsoft.com/office/powerpoint/2010/main" val="8698004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8FF38E-56B3-BDFC-EED4-F49CA46A0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EF974DA-1D54-BCC7-22F5-1F5125109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08E7D712-1CC2-61A0-2A55-87E489C84887}"/>
              </a:ext>
            </a:extLst>
          </p:cNvPr>
          <p:cNvGrpSpPr/>
          <p:nvPr/>
        </p:nvGrpSpPr>
        <p:grpSpPr>
          <a:xfrm>
            <a:off x="100645" y="1988460"/>
            <a:ext cx="11813205" cy="3250432"/>
            <a:chOff x="88033" y="1995332"/>
            <a:chExt cx="11813205" cy="3250432"/>
          </a:xfrm>
        </p:grpSpPr>
        <p:pic>
          <p:nvPicPr>
            <p:cNvPr id="18" name="Graphic 17" descr="Opmerking: leuk silhouet">
              <a:extLst>
                <a:ext uri="{FF2B5EF4-FFF2-40B4-BE49-F238E27FC236}">
                  <a16:creationId xmlns:a16="http://schemas.microsoft.com/office/drawing/2014/main" id="{D3187CD4-9863-7600-1935-4518F90C2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69221" y="1995332"/>
              <a:ext cx="3250432" cy="3250432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C3D7AA63-44D2-C242-0A56-471D382B4BD3}"/>
                </a:ext>
              </a:extLst>
            </p:cNvPr>
            <p:cNvGrpSpPr/>
            <p:nvPr/>
          </p:nvGrpSpPr>
          <p:grpSpPr>
            <a:xfrm>
              <a:off x="88033" y="2844554"/>
              <a:ext cx="11813205" cy="1908215"/>
              <a:chOff x="531093" y="3006962"/>
              <a:chExt cx="11813205" cy="1908215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BF768C17-4F2B-2DAC-D620-10E7EFF6BD0B}"/>
                  </a:ext>
                </a:extLst>
              </p:cNvPr>
              <p:cNvSpPr txBox="1"/>
              <p:nvPr/>
            </p:nvSpPr>
            <p:spPr>
              <a:xfrm>
                <a:off x="531093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533C3E49-DF76-2BE2-716D-7A5A192264C2}"/>
                  </a:ext>
                </a:extLst>
              </p:cNvPr>
              <p:cNvSpPr txBox="1"/>
              <p:nvPr/>
            </p:nvSpPr>
            <p:spPr>
              <a:xfrm>
                <a:off x="1197211" y="3006962"/>
                <a:ext cx="6497987" cy="19082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6000" b="1">
                    <a:solidFill>
                      <a:schemeClr val="accent1"/>
                    </a:solidFill>
                  </a:rPr>
                  <a:t>Like </a:t>
                </a:r>
                <a:r>
                  <a:rPr lang="nl-NL" sz="60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60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Veilige omgeving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Betrokkenheid bij het onderwerp</a:t>
                </a:r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378B7B1A-5E91-BC48-1F21-A86677717566}"/>
                  </a:ext>
                </a:extLst>
              </p:cNvPr>
              <p:cNvSpPr txBox="1"/>
              <p:nvPr/>
            </p:nvSpPr>
            <p:spPr>
              <a:xfrm>
                <a:off x="4570831" y="3782958"/>
                <a:ext cx="228595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96427E8F-2F5F-E6E1-6112-DA6117D79E3D}"/>
                  </a:ext>
                </a:extLst>
              </p:cNvPr>
              <p:cNvSpPr txBox="1"/>
              <p:nvPr/>
            </p:nvSpPr>
            <p:spPr>
              <a:xfrm>
                <a:off x="7357670" y="3782957"/>
                <a:ext cx="19465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3169F210-1702-B876-3158-6728A1B3C7B0}"/>
                  </a:ext>
                </a:extLst>
              </p:cNvPr>
              <p:cNvSpPr txBox="1"/>
              <p:nvPr/>
            </p:nvSpPr>
            <p:spPr>
              <a:xfrm>
                <a:off x="9585512" y="3782956"/>
                <a:ext cx="27587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22420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A7C1F0-9507-6C27-15A1-940D815BE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CCF564F-7B6C-3FF8-7225-59D37C5E7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D6C89E50-E108-FF73-91DF-84A97E321B01}"/>
              </a:ext>
            </a:extLst>
          </p:cNvPr>
          <p:cNvGrpSpPr/>
          <p:nvPr/>
        </p:nvGrpSpPr>
        <p:grpSpPr>
          <a:xfrm>
            <a:off x="0" y="2420991"/>
            <a:ext cx="11595271" cy="2758786"/>
            <a:chOff x="88033" y="2294867"/>
            <a:chExt cx="11595271" cy="2758786"/>
          </a:xfrm>
        </p:grpSpPr>
        <p:pic>
          <p:nvPicPr>
            <p:cNvPr id="10" name="Graphic 9" descr="Zorg silhouet">
              <a:extLst>
                <a:ext uri="{FF2B5EF4-FFF2-40B4-BE49-F238E27FC236}">
                  <a16:creationId xmlns:a16="http://schemas.microsoft.com/office/drawing/2014/main" id="{B144DC61-AC11-1D5D-E2D4-A8E5B6C37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785186" y="2294867"/>
              <a:ext cx="2758786" cy="2758786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418B2520-C809-E5A2-72CF-3B05FC3DFE64}"/>
                </a:ext>
              </a:extLst>
            </p:cNvPr>
            <p:cNvGrpSpPr/>
            <p:nvPr/>
          </p:nvGrpSpPr>
          <p:grpSpPr>
            <a:xfrm>
              <a:off x="88033" y="2985202"/>
              <a:ext cx="11595271" cy="1908215"/>
              <a:chOff x="531093" y="3147610"/>
              <a:chExt cx="11595271" cy="1908215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AA0108DA-5A02-424C-E9C2-DAE707AD8B20}"/>
                  </a:ext>
                </a:extLst>
              </p:cNvPr>
              <p:cNvSpPr txBox="1"/>
              <p:nvPr/>
            </p:nvSpPr>
            <p:spPr>
              <a:xfrm>
                <a:off x="531093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4D9BC974-F7A0-D4A1-2BB8-045368A55C7C}"/>
                  </a:ext>
                </a:extLst>
              </p:cNvPr>
              <p:cNvSpPr txBox="1"/>
              <p:nvPr/>
            </p:nvSpPr>
            <p:spPr>
              <a:xfrm>
                <a:off x="2529727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473FBCB0-9C8D-165D-3825-CFB6A609517F}"/>
                  </a:ext>
                </a:extLst>
              </p:cNvPr>
              <p:cNvSpPr txBox="1"/>
              <p:nvPr/>
            </p:nvSpPr>
            <p:spPr>
              <a:xfrm>
                <a:off x="1273804" y="3147610"/>
                <a:ext cx="6855263" cy="19082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6000" b="1" err="1">
                    <a:solidFill>
                      <a:schemeClr val="accent1"/>
                    </a:solidFill>
                  </a:rPr>
                  <a:t>Enabled</a:t>
                </a:r>
                <a:r>
                  <a:rPr lang="nl-NL" sz="6000" b="1">
                    <a:solidFill>
                      <a:schemeClr val="accent1"/>
                    </a:solidFill>
                  </a:rPr>
                  <a:t> </a:t>
                </a:r>
                <a:r>
                  <a:rPr lang="nl-NL" sz="60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60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Training en vaardigheden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Netwerk en begeleiding</a:t>
                </a:r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CD120205-E60F-3606-9B5C-FCC5FBC73BA6}"/>
                  </a:ext>
                </a:extLst>
              </p:cNvPr>
              <p:cNvSpPr txBox="1"/>
              <p:nvPr/>
            </p:nvSpPr>
            <p:spPr>
              <a:xfrm>
                <a:off x="7357670" y="3782957"/>
                <a:ext cx="19465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AC238486-89D0-A4B4-DD4E-3FC29CDF1926}"/>
                  </a:ext>
                </a:extLst>
              </p:cNvPr>
              <p:cNvSpPr txBox="1"/>
              <p:nvPr/>
            </p:nvSpPr>
            <p:spPr>
              <a:xfrm>
                <a:off x="9367578" y="4029177"/>
                <a:ext cx="27587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640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F93766-98EF-4577-B999-69B8EE63A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0181702-A8C6-9C18-466B-C7C3500D5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7A7CC7E3-F29A-13DC-42B4-B7407FE2AE0E}"/>
              </a:ext>
            </a:extLst>
          </p:cNvPr>
          <p:cNvGrpSpPr/>
          <p:nvPr/>
        </p:nvGrpSpPr>
        <p:grpSpPr>
          <a:xfrm>
            <a:off x="88033" y="2613665"/>
            <a:ext cx="11813205" cy="2814997"/>
            <a:chOff x="88033" y="2613665"/>
            <a:chExt cx="11813205" cy="2814997"/>
          </a:xfrm>
        </p:grpSpPr>
        <p:pic>
          <p:nvPicPr>
            <p:cNvPr id="14" name="Graphic 13" descr="Vragen silhouet">
              <a:extLst>
                <a:ext uri="{FF2B5EF4-FFF2-40B4-BE49-F238E27FC236}">
                  <a16:creationId xmlns:a16="http://schemas.microsoft.com/office/drawing/2014/main" id="{5B97F4DF-DF73-BF81-61FA-40599BC3D9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04665" y="2613665"/>
              <a:ext cx="2814997" cy="2814997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D696818D-30A4-4103-2273-118673627072}"/>
                </a:ext>
              </a:extLst>
            </p:cNvPr>
            <p:cNvGrpSpPr/>
            <p:nvPr/>
          </p:nvGrpSpPr>
          <p:grpSpPr>
            <a:xfrm>
              <a:off x="88033" y="3307348"/>
              <a:ext cx="11813205" cy="1908215"/>
              <a:chOff x="531093" y="3469756"/>
              <a:chExt cx="11813205" cy="1908215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C37C7CF3-AA29-6D57-FA70-D6AABC9D015D}"/>
                  </a:ext>
                </a:extLst>
              </p:cNvPr>
              <p:cNvSpPr txBox="1"/>
              <p:nvPr/>
            </p:nvSpPr>
            <p:spPr>
              <a:xfrm>
                <a:off x="531093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63F04416-3EBF-BB48-3470-5538653061D6}"/>
                  </a:ext>
                </a:extLst>
              </p:cNvPr>
              <p:cNvSpPr txBox="1"/>
              <p:nvPr/>
            </p:nvSpPr>
            <p:spPr>
              <a:xfrm>
                <a:off x="2529727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DC51538D-D560-732A-EAFE-171482724FEB}"/>
                  </a:ext>
                </a:extLst>
              </p:cNvPr>
              <p:cNvSpPr txBox="1"/>
              <p:nvPr/>
            </p:nvSpPr>
            <p:spPr>
              <a:xfrm>
                <a:off x="4570831" y="3782958"/>
                <a:ext cx="228595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071754A2-5843-C0F2-B8A9-02F00882C759}"/>
                  </a:ext>
                </a:extLst>
              </p:cNvPr>
              <p:cNvSpPr txBox="1"/>
              <p:nvPr/>
            </p:nvSpPr>
            <p:spPr>
              <a:xfrm>
                <a:off x="1279191" y="3469756"/>
                <a:ext cx="6472763" cy="19082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6000" b="1" err="1">
                    <a:solidFill>
                      <a:schemeClr val="accent1"/>
                    </a:solidFill>
                  </a:rPr>
                  <a:t>Asked</a:t>
                </a:r>
                <a:r>
                  <a:rPr lang="nl-NL" sz="6000" b="1">
                    <a:solidFill>
                      <a:schemeClr val="accent1"/>
                    </a:solidFill>
                  </a:rPr>
                  <a:t> </a:t>
                </a:r>
                <a:r>
                  <a:rPr lang="nl-NL" sz="60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60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Inclusieve communicatie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Actieve uitnodiging</a:t>
                </a:r>
                <a:endParaRPr lang="nl-NL" sz="1600"/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FCB790D5-F96D-5CBE-EF5F-29E5FD7DC8BB}"/>
                  </a:ext>
                </a:extLst>
              </p:cNvPr>
              <p:cNvSpPr txBox="1"/>
              <p:nvPr/>
            </p:nvSpPr>
            <p:spPr>
              <a:xfrm>
                <a:off x="9585512" y="3782956"/>
                <a:ext cx="27587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67114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13E983-56DA-5258-B28D-74E194F716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D5F6B30-6911-0A18-E31D-A71B19F4B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62CAD75E-8F9F-0D24-563A-3728E1C3B26D}"/>
              </a:ext>
            </a:extLst>
          </p:cNvPr>
          <p:cNvGrpSpPr/>
          <p:nvPr/>
        </p:nvGrpSpPr>
        <p:grpSpPr>
          <a:xfrm>
            <a:off x="88033" y="2613666"/>
            <a:ext cx="10405570" cy="2844174"/>
            <a:chOff x="88033" y="2613666"/>
            <a:chExt cx="10405570" cy="2844174"/>
          </a:xfrm>
        </p:grpSpPr>
        <p:pic>
          <p:nvPicPr>
            <p:cNvPr id="16" name="Graphic 15" descr="Klantbeoordeling silhouet">
              <a:extLst>
                <a:ext uri="{FF2B5EF4-FFF2-40B4-BE49-F238E27FC236}">
                  <a16:creationId xmlns:a16="http://schemas.microsoft.com/office/drawing/2014/main" id="{07D7D964-091D-172E-58A7-EA6B51906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649429" y="2613666"/>
              <a:ext cx="2844174" cy="2844174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65E1CC84-D5E2-AEFD-0943-53BCD8FBC1C5}"/>
                </a:ext>
              </a:extLst>
            </p:cNvPr>
            <p:cNvGrpSpPr/>
            <p:nvPr/>
          </p:nvGrpSpPr>
          <p:grpSpPr>
            <a:xfrm>
              <a:off x="88033" y="3298932"/>
              <a:ext cx="9282990" cy="1908215"/>
              <a:chOff x="531093" y="3461340"/>
              <a:chExt cx="9282990" cy="1908215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951666AA-57A3-C5CB-205F-72B13532DEDC}"/>
                  </a:ext>
                </a:extLst>
              </p:cNvPr>
              <p:cNvSpPr txBox="1"/>
              <p:nvPr/>
            </p:nvSpPr>
            <p:spPr>
              <a:xfrm>
                <a:off x="531093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0BEE3082-9BFC-BE07-6840-9ABC392BB482}"/>
                  </a:ext>
                </a:extLst>
              </p:cNvPr>
              <p:cNvSpPr txBox="1"/>
              <p:nvPr/>
            </p:nvSpPr>
            <p:spPr>
              <a:xfrm>
                <a:off x="2529727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9B2FA904-5955-8CFE-F4DC-72B7181C4EDC}"/>
                  </a:ext>
                </a:extLst>
              </p:cNvPr>
              <p:cNvSpPr txBox="1"/>
              <p:nvPr/>
            </p:nvSpPr>
            <p:spPr>
              <a:xfrm>
                <a:off x="4570831" y="3782958"/>
                <a:ext cx="228595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97171EFF-593F-1604-87B6-6E7D6B89D6BA}"/>
                  </a:ext>
                </a:extLst>
              </p:cNvPr>
              <p:cNvSpPr txBox="1"/>
              <p:nvPr/>
            </p:nvSpPr>
            <p:spPr>
              <a:xfrm>
                <a:off x="7357670" y="3782957"/>
                <a:ext cx="19465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98797B77-AC97-C6E3-DA18-1885CCCB6B8B}"/>
                  </a:ext>
                </a:extLst>
              </p:cNvPr>
              <p:cNvSpPr txBox="1"/>
              <p:nvPr/>
            </p:nvSpPr>
            <p:spPr>
              <a:xfrm>
                <a:off x="1425043" y="3461340"/>
                <a:ext cx="8389040" cy="19082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6000" b="1" err="1">
                    <a:solidFill>
                      <a:schemeClr val="accent1"/>
                    </a:solidFill>
                  </a:rPr>
                  <a:t>Responded</a:t>
                </a:r>
                <a:r>
                  <a:rPr lang="nl-NL" sz="6000" b="1">
                    <a:solidFill>
                      <a:schemeClr val="accent1"/>
                    </a:solidFill>
                  </a:rPr>
                  <a:t> </a:t>
                </a:r>
                <a:r>
                  <a:rPr lang="nl-NL" sz="6000" b="1" err="1">
                    <a:solidFill>
                      <a:schemeClr val="accent1"/>
                    </a:solidFill>
                  </a:rPr>
                  <a:t>to</a:t>
                </a:r>
                <a:endParaRPr lang="nl-NL" sz="6000" b="1">
                  <a:solidFill>
                    <a:schemeClr val="accent1"/>
                  </a:solidFill>
                </a:endParaRP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Transparante terugkoppeling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200"/>
                  <a:t>Gelijkwaardige interactie</a:t>
                </a:r>
                <a:endParaRPr lang="nl-NL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7013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FEE97FC-D5A2-5838-7BFF-C9217529F3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92280282-A0DD-CB6C-7170-527A8180C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 dirty="0"/>
              <a:t>Ondersteuning bij de uitvoering</a:t>
            </a:r>
          </a:p>
        </p:txBody>
      </p:sp>
      <p:sp>
        <p:nvSpPr>
          <p:cNvPr id="2" name="Rechthoek: afgeronde hoeken 1">
            <a:extLst>
              <a:ext uri="{FF2B5EF4-FFF2-40B4-BE49-F238E27FC236}">
                <a16:creationId xmlns:a16="http://schemas.microsoft.com/office/drawing/2014/main" id="{6EFD8319-CF85-1007-0D04-B198FBC8B99F}"/>
              </a:ext>
            </a:extLst>
          </p:cNvPr>
          <p:cNvSpPr/>
          <p:nvPr/>
        </p:nvSpPr>
        <p:spPr>
          <a:xfrm>
            <a:off x="766763" y="1681317"/>
            <a:ext cx="8970579" cy="9144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4800" b="1" dirty="0"/>
              <a:t>Leernetwerk</a:t>
            </a:r>
          </a:p>
        </p:txBody>
      </p:sp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6A8E4195-471C-966C-97D5-AD788A335450}"/>
              </a:ext>
            </a:extLst>
          </p:cNvPr>
          <p:cNvSpPr/>
          <p:nvPr/>
        </p:nvSpPr>
        <p:spPr>
          <a:xfrm>
            <a:off x="766763" y="2772696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b="1" dirty="0">
                <a:solidFill>
                  <a:schemeClr val="tx1"/>
                </a:solidFill>
              </a:rPr>
              <a:t>Online omgeving in Teams</a:t>
            </a:r>
          </a:p>
        </p:txBody>
      </p:sp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77A12CA5-5DDC-E1CC-FD94-8827C36D5B33}"/>
              </a:ext>
            </a:extLst>
          </p:cNvPr>
          <p:cNvSpPr/>
          <p:nvPr/>
        </p:nvSpPr>
        <p:spPr>
          <a:xfrm>
            <a:off x="3029318" y="2772696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b="1" dirty="0">
                <a:solidFill>
                  <a:schemeClr val="tx1"/>
                </a:solidFill>
              </a:rPr>
              <a:t>Ervaringen en kennis delen</a:t>
            </a:r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310C97C5-B184-D077-B3BD-828E00656E3F}"/>
              </a:ext>
            </a:extLst>
          </p:cNvPr>
          <p:cNvSpPr/>
          <p:nvPr/>
        </p:nvSpPr>
        <p:spPr>
          <a:xfrm>
            <a:off x="5291873" y="2772696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b="1" dirty="0">
                <a:solidFill>
                  <a:schemeClr val="tx1"/>
                </a:solidFill>
              </a:rPr>
              <a:t>Thema-workshops</a:t>
            </a:r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F099A4DB-26A7-FAAF-E2EA-901C6F265925}"/>
              </a:ext>
            </a:extLst>
          </p:cNvPr>
          <p:cNvSpPr/>
          <p:nvPr/>
        </p:nvSpPr>
        <p:spPr>
          <a:xfrm>
            <a:off x="7554428" y="2761179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b="1" dirty="0">
                <a:solidFill>
                  <a:schemeClr val="tx1"/>
                </a:solidFill>
              </a:rPr>
              <a:t>Mogelijkheid tot ondersteuning bij uitvoering</a:t>
            </a:r>
            <a:endParaRPr lang="nl-NL" sz="2000" b="1" dirty="0">
              <a:solidFill>
                <a:schemeClr val="tx1"/>
              </a:solidFill>
            </a:endParaRPr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9EFC2B26-4180-344E-5D04-A112A1155B30}"/>
              </a:ext>
            </a:extLst>
          </p:cNvPr>
          <p:cNvSpPr/>
          <p:nvPr/>
        </p:nvSpPr>
        <p:spPr>
          <a:xfrm>
            <a:off x="4200416" y="5176683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b="1" dirty="0">
                <a:solidFill>
                  <a:schemeClr val="tx1"/>
                </a:solidFill>
              </a:rPr>
              <a:t>Samen leren en reflecteren</a:t>
            </a:r>
          </a:p>
        </p:txBody>
      </p:sp>
      <p:sp>
        <p:nvSpPr>
          <p:cNvPr id="11" name="Pijl: omlaag 10">
            <a:extLst>
              <a:ext uri="{FF2B5EF4-FFF2-40B4-BE49-F238E27FC236}">
                <a16:creationId xmlns:a16="http://schemas.microsoft.com/office/drawing/2014/main" id="{05DC37F3-395B-CE48-93B2-6F07458D1D33}"/>
              </a:ext>
            </a:extLst>
          </p:cNvPr>
          <p:cNvSpPr/>
          <p:nvPr/>
        </p:nvSpPr>
        <p:spPr>
          <a:xfrm rot="2627626">
            <a:off x="3858866" y="3665870"/>
            <a:ext cx="484632" cy="164314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 err="1"/>
          </a:p>
        </p:txBody>
      </p:sp>
      <p:sp>
        <p:nvSpPr>
          <p:cNvPr id="12" name="Rechthoek: afgeronde hoeken 11">
            <a:extLst>
              <a:ext uri="{FF2B5EF4-FFF2-40B4-BE49-F238E27FC236}">
                <a16:creationId xmlns:a16="http://schemas.microsoft.com/office/drawing/2014/main" id="{C5DC51B5-BEE9-1F96-94F8-52708368B773}"/>
              </a:ext>
            </a:extLst>
          </p:cNvPr>
          <p:cNvSpPr/>
          <p:nvPr/>
        </p:nvSpPr>
        <p:spPr>
          <a:xfrm>
            <a:off x="1987168" y="5176683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1600" b="1" dirty="0">
                <a:solidFill>
                  <a:schemeClr val="tx1"/>
                </a:solidFill>
              </a:rPr>
              <a:t>Optimaal gebruik maken van bestaande expertise</a:t>
            </a:r>
          </a:p>
        </p:txBody>
      </p:sp>
      <p:sp>
        <p:nvSpPr>
          <p:cNvPr id="13" name="Pijl: omlaag 12">
            <a:extLst>
              <a:ext uri="{FF2B5EF4-FFF2-40B4-BE49-F238E27FC236}">
                <a16:creationId xmlns:a16="http://schemas.microsoft.com/office/drawing/2014/main" id="{DCB24D3E-3125-B578-E097-598A2A3BEBEE}"/>
              </a:ext>
            </a:extLst>
          </p:cNvPr>
          <p:cNvSpPr/>
          <p:nvPr/>
        </p:nvSpPr>
        <p:spPr>
          <a:xfrm>
            <a:off x="5009736" y="3747834"/>
            <a:ext cx="484632" cy="138410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 err="1"/>
          </a:p>
        </p:txBody>
      </p:sp>
      <p:sp>
        <p:nvSpPr>
          <p:cNvPr id="14" name="Pijl: omlaag 13">
            <a:extLst>
              <a:ext uri="{FF2B5EF4-FFF2-40B4-BE49-F238E27FC236}">
                <a16:creationId xmlns:a16="http://schemas.microsoft.com/office/drawing/2014/main" id="{7540D09E-6906-0C65-A813-AC2220DE8CBA}"/>
              </a:ext>
            </a:extLst>
          </p:cNvPr>
          <p:cNvSpPr/>
          <p:nvPr/>
        </p:nvSpPr>
        <p:spPr>
          <a:xfrm rot="18978825">
            <a:off x="6309532" y="3665133"/>
            <a:ext cx="484632" cy="164314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 err="1"/>
          </a:p>
        </p:txBody>
      </p:sp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id="{730D198C-8104-E72A-D24B-0F1C0D40C0F0}"/>
              </a:ext>
            </a:extLst>
          </p:cNvPr>
          <p:cNvSpPr/>
          <p:nvPr/>
        </p:nvSpPr>
        <p:spPr>
          <a:xfrm>
            <a:off x="6413664" y="5176683"/>
            <a:ext cx="2182914" cy="9144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b="1" dirty="0">
                <a:solidFill>
                  <a:schemeClr val="tx1"/>
                </a:solidFill>
              </a:rPr>
              <a:t>Kennisbundeling in een handreiking</a:t>
            </a:r>
          </a:p>
        </p:txBody>
      </p:sp>
      <p:sp>
        <p:nvSpPr>
          <p:cNvPr id="16" name="Rechthoek: afgeronde hoeken 15">
            <a:extLst>
              <a:ext uri="{FF2B5EF4-FFF2-40B4-BE49-F238E27FC236}">
                <a16:creationId xmlns:a16="http://schemas.microsoft.com/office/drawing/2014/main" id="{985ADF12-2297-B5C9-8239-6B25BB573EDC}"/>
              </a:ext>
            </a:extLst>
          </p:cNvPr>
          <p:cNvSpPr/>
          <p:nvPr/>
        </p:nvSpPr>
        <p:spPr>
          <a:xfrm>
            <a:off x="9816983" y="1643183"/>
            <a:ext cx="1331843" cy="20439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dirty="0">
                <a:solidFill>
                  <a:schemeClr val="tx1"/>
                </a:solidFill>
              </a:rPr>
              <a:t>Looptijd:</a:t>
            </a:r>
          </a:p>
          <a:p>
            <a:pPr algn="ctr"/>
            <a:r>
              <a:rPr lang="nl-NL" sz="2000" dirty="0">
                <a:solidFill>
                  <a:schemeClr val="tx1"/>
                </a:solidFill>
              </a:rPr>
              <a:t>Maart - juni</a:t>
            </a:r>
          </a:p>
        </p:txBody>
      </p:sp>
      <p:sp>
        <p:nvSpPr>
          <p:cNvPr id="18" name="Rechthoek: afgeronde hoeken 17">
            <a:extLst>
              <a:ext uri="{FF2B5EF4-FFF2-40B4-BE49-F238E27FC236}">
                <a16:creationId xmlns:a16="http://schemas.microsoft.com/office/drawing/2014/main" id="{4560DACD-4AA4-36B0-5F50-EE08C61CB2CC}"/>
              </a:ext>
            </a:extLst>
          </p:cNvPr>
          <p:cNvSpPr/>
          <p:nvPr/>
        </p:nvSpPr>
        <p:spPr>
          <a:xfrm>
            <a:off x="6413664" y="6139891"/>
            <a:ext cx="2182914" cy="60939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1600" b="1" dirty="0">
                <a:solidFill>
                  <a:schemeClr val="tx1"/>
                </a:solidFill>
              </a:rPr>
              <a:t>Oplevering handreiking: augustus</a:t>
            </a:r>
          </a:p>
        </p:txBody>
      </p:sp>
    </p:spTree>
    <p:extLst>
      <p:ext uri="{BB962C8B-B14F-4D97-AF65-F5344CB8AC3E}">
        <p14:creationId xmlns:p14="http://schemas.microsoft.com/office/powerpoint/2010/main" val="1806635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CECE5DE-A59C-D358-9772-22B9F8558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6E460D7A-3056-9008-8A85-903E83400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 dirty="0"/>
              <a:t>Aanmelden? Simpel!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C98DC044-9650-05F0-F172-425709D33741}"/>
              </a:ext>
            </a:extLst>
          </p:cNvPr>
          <p:cNvSpPr txBox="1"/>
          <p:nvPr/>
        </p:nvSpPr>
        <p:spPr>
          <a:xfrm>
            <a:off x="1063487" y="2514600"/>
            <a:ext cx="5443350" cy="14157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sz="2000" dirty="0"/>
              <a:t>Stuur </a:t>
            </a:r>
            <a:r>
              <a:rPr lang="nl-NL" sz="2000" u="sng" dirty="0"/>
              <a:t>vóór 15 februari </a:t>
            </a:r>
            <a:r>
              <a:rPr lang="nl-NL" sz="2000" dirty="0"/>
              <a:t>een mail naar Geeske Strating</a:t>
            </a:r>
          </a:p>
          <a:p>
            <a:pPr algn="l"/>
            <a:endParaRPr lang="nl-NL" sz="3600" b="1" dirty="0"/>
          </a:p>
          <a:p>
            <a:pPr algn="l"/>
            <a:r>
              <a:rPr lang="nl-NL" sz="3600" b="1" dirty="0"/>
              <a:t>strating@emma.nl 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F67925FB-936D-E745-4014-1AF3266E7F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266" y="2328547"/>
            <a:ext cx="3885972" cy="3988234"/>
          </a:xfrm>
          <a:prstGeom prst="rect">
            <a:avLst/>
          </a:prstGeom>
        </p:spPr>
      </p:pic>
      <p:sp>
        <p:nvSpPr>
          <p:cNvPr id="16" name="Tekstballon: ovaal 15">
            <a:extLst>
              <a:ext uri="{FF2B5EF4-FFF2-40B4-BE49-F238E27FC236}">
                <a16:creationId xmlns:a16="http://schemas.microsoft.com/office/drawing/2014/main" id="{E4649D48-DFF8-8A97-6757-12C819182E1F}"/>
              </a:ext>
            </a:extLst>
          </p:cNvPr>
          <p:cNvSpPr/>
          <p:nvPr/>
        </p:nvSpPr>
        <p:spPr>
          <a:xfrm>
            <a:off x="1545155" y="4679805"/>
            <a:ext cx="4482663" cy="1736366"/>
          </a:xfrm>
          <a:prstGeom prst="wedgeEllipseCallout">
            <a:avLst>
              <a:gd name="adj1" fmla="val -20157"/>
              <a:gd name="adj2" fmla="val -9028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800" b="1" dirty="0"/>
              <a:t>Ook met al je (ondersteunings-) vragen!</a:t>
            </a:r>
          </a:p>
        </p:txBody>
      </p:sp>
    </p:spTree>
    <p:extLst>
      <p:ext uri="{BB962C8B-B14F-4D97-AF65-F5344CB8AC3E}">
        <p14:creationId xmlns:p14="http://schemas.microsoft.com/office/powerpoint/2010/main" val="3848088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2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C5B893C-CB94-267C-A30D-0D08F7B4A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97F284E-0BD5-6083-3AEE-614DB6F5F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 dirty="0"/>
              <a:t>Afronding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D386559F-2BF2-9DA8-6659-C244EEB1D9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9062" y="2037318"/>
            <a:ext cx="4764573" cy="3176382"/>
          </a:xfrm>
          <a:prstGeom prst="rect">
            <a:avLst/>
          </a:prstGeom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A69D21F2-54CD-96FB-2F21-517DE2624CB8}"/>
              </a:ext>
            </a:extLst>
          </p:cNvPr>
          <p:cNvSpPr txBox="1"/>
          <p:nvPr/>
        </p:nvSpPr>
        <p:spPr>
          <a:xfrm>
            <a:off x="3419060" y="5277680"/>
            <a:ext cx="476457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NL" sz="4000" b="1" i="1" dirty="0">
                <a:solidFill>
                  <a:schemeClr val="accent1"/>
                </a:solidFill>
              </a:rPr>
              <a:t>En nu… aan de slag!!</a:t>
            </a:r>
          </a:p>
        </p:txBody>
      </p:sp>
    </p:spTree>
    <p:extLst>
      <p:ext uri="{BB962C8B-B14F-4D97-AF65-F5344CB8AC3E}">
        <p14:creationId xmlns:p14="http://schemas.microsoft.com/office/powerpoint/2010/main" val="2584290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C058D3-72EC-471D-A575-12F71905C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436" y="760577"/>
            <a:ext cx="9990191" cy="6854184"/>
          </a:xfrm>
        </p:spPr>
        <p:txBody>
          <a:bodyPr/>
          <a:lstStyle/>
          <a:p>
            <a:r>
              <a:rPr lang="nl-NL" sz="6000">
                <a:latin typeface="+mn-lt"/>
              </a:rPr>
              <a:t>PROGRAMMA</a:t>
            </a:r>
            <a:br>
              <a:rPr lang="nl-NL">
                <a:latin typeface="+mn-lt"/>
              </a:rPr>
            </a:br>
            <a:br>
              <a:rPr lang="nl-NL">
                <a:latin typeface="+mn-lt"/>
              </a:rPr>
            </a:br>
            <a:r>
              <a:rPr lang="nl-NL" sz="3600">
                <a:latin typeface="+mn-lt"/>
              </a:rPr>
              <a:t>X</a:t>
            </a:r>
            <a:r>
              <a:rPr lang="nl-NL">
                <a:latin typeface="+mn-lt"/>
              </a:rPr>
              <a:t> </a:t>
            </a:r>
            <a:r>
              <a:rPr lang="nl-NL" sz="3600">
                <a:solidFill>
                  <a:schemeClr val="bg1"/>
                </a:solidFill>
                <a:latin typeface="+mn-lt"/>
              </a:rPr>
              <a:t>Opening en welkom</a:t>
            </a:r>
            <a:br>
              <a:rPr lang="nl-NL" sz="3600">
                <a:solidFill>
                  <a:schemeClr val="bg1"/>
                </a:solidFill>
                <a:latin typeface="+mn-lt"/>
              </a:rPr>
            </a:br>
            <a:br>
              <a:rPr lang="nl-NL" sz="3600">
                <a:solidFill>
                  <a:schemeClr val="bg1"/>
                </a:solidFill>
                <a:latin typeface="+mn-lt"/>
              </a:rPr>
            </a:br>
            <a:r>
              <a:rPr lang="nl-NL" sz="3600">
                <a:solidFill>
                  <a:schemeClr val="bg1"/>
                </a:solidFill>
                <a:latin typeface="+mn-lt"/>
              </a:rPr>
              <a:t>X </a:t>
            </a:r>
            <a:r>
              <a:rPr lang="nl-NL" sz="3600">
                <a:latin typeface="+mn-lt"/>
              </a:rPr>
              <a:t>Be CLEAR! Aan de slag met jongerenparticipatie</a:t>
            </a:r>
            <a:br>
              <a:rPr lang="nl-NL" sz="3600">
                <a:latin typeface="+mn-lt"/>
              </a:rPr>
            </a:br>
            <a:br>
              <a:rPr lang="nl-NL" sz="3600">
                <a:latin typeface="+mn-lt"/>
              </a:rPr>
            </a:br>
            <a:r>
              <a:rPr lang="nl-NL" sz="3600">
                <a:latin typeface="+mn-lt"/>
              </a:rPr>
              <a:t>X </a:t>
            </a:r>
            <a:r>
              <a:rPr lang="nl-NL" sz="3600">
                <a:solidFill>
                  <a:schemeClr val="bg1"/>
                </a:solidFill>
                <a:latin typeface="+mn-lt"/>
              </a:rPr>
              <a:t>Verkenning van ondersteuningsmogelijkheden</a:t>
            </a:r>
            <a:br>
              <a:rPr lang="nl-NL" sz="3600">
                <a:solidFill>
                  <a:schemeClr val="bg1"/>
                </a:solidFill>
                <a:latin typeface="+mn-lt"/>
              </a:rPr>
            </a:br>
            <a:br>
              <a:rPr lang="nl-NL" sz="3600">
                <a:solidFill>
                  <a:schemeClr val="bg1"/>
                </a:solidFill>
                <a:latin typeface="+mn-lt"/>
              </a:rPr>
            </a:br>
            <a:r>
              <a:rPr lang="nl-NL" sz="3600">
                <a:solidFill>
                  <a:schemeClr val="bg1"/>
                </a:solidFill>
                <a:latin typeface="+mn-lt"/>
              </a:rPr>
              <a:t>X </a:t>
            </a:r>
            <a:r>
              <a:rPr lang="nl-NL" sz="3600">
                <a:latin typeface="+mn-lt"/>
              </a:rPr>
              <a:t>Afsluiting en Vervolgstappen</a:t>
            </a:r>
            <a:br>
              <a:rPr lang="nl-NL" sz="3200">
                <a:latin typeface="+mn-lt"/>
              </a:rPr>
            </a:br>
            <a:br>
              <a:rPr lang="nl-NL" sz="3200">
                <a:latin typeface="+mn-lt"/>
              </a:rPr>
            </a:br>
            <a:br>
              <a:rPr lang="nl-NL" sz="3200"/>
            </a:br>
            <a:br>
              <a:rPr lang="nl-NL" sz="3200"/>
            </a:br>
            <a:br>
              <a:rPr lang="nl-NL" sz="3200"/>
            </a:br>
            <a:endParaRPr lang="nl-NL" sz="3200"/>
          </a:p>
        </p:txBody>
      </p:sp>
    </p:spTree>
    <p:extLst>
      <p:ext uri="{BB962C8B-B14F-4D97-AF65-F5344CB8AC3E}">
        <p14:creationId xmlns:p14="http://schemas.microsoft.com/office/powerpoint/2010/main" val="1848100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6A29CD6-82B8-9B04-C22F-4716C6833D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Menselijk gezicht, persoon, glimlach, kleding&#10;&#10;Automatisch gegenereerde beschrijving">
            <a:extLst>
              <a:ext uri="{FF2B5EF4-FFF2-40B4-BE49-F238E27FC236}">
                <a16:creationId xmlns:a16="http://schemas.microsoft.com/office/drawing/2014/main" id="{FD4D74A4-041D-A088-7BB8-8427B1103A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632" y="1862328"/>
            <a:ext cx="2615184" cy="3133344"/>
          </a:xfrm>
          <a:prstGeom prst="rect">
            <a:avLst/>
          </a:prstGeom>
        </p:spPr>
      </p:pic>
      <p:pic>
        <p:nvPicPr>
          <p:cNvPr id="10" name="Afbeelding 9" descr="Afbeelding met Menselijk gezicht, persoon, muur, kleding&#10;&#10;Automatisch gegenereerde beschrijving">
            <a:extLst>
              <a:ext uri="{FF2B5EF4-FFF2-40B4-BE49-F238E27FC236}">
                <a16:creationId xmlns:a16="http://schemas.microsoft.com/office/drawing/2014/main" id="{547D61DC-9A2E-F353-180D-B52037CF8A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21"/>
          <a:stretch/>
        </p:blipFill>
        <p:spPr>
          <a:xfrm>
            <a:off x="5383816" y="1862328"/>
            <a:ext cx="3005838" cy="3133345"/>
          </a:xfrm>
          <a:prstGeom prst="rect">
            <a:avLst/>
          </a:prstGeom>
        </p:spPr>
      </p:pic>
      <p:sp>
        <p:nvSpPr>
          <p:cNvPr id="11" name="Tekstvak 10">
            <a:extLst>
              <a:ext uri="{FF2B5EF4-FFF2-40B4-BE49-F238E27FC236}">
                <a16:creationId xmlns:a16="http://schemas.microsoft.com/office/drawing/2014/main" id="{73FDF489-CD24-6672-7593-088BA07D4F8B}"/>
              </a:ext>
            </a:extLst>
          </p:cNvPr>
          <p:cNvSpPr txBox="1"/>
          <p:nvPr/>
        </p:nvSpPr>
        <p:spPr>
          <a:xfrm>
            <a:off x="3265255" y="5513059"/>
            <a:ext cx="423712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sz="2000"/>
              <a:t>Geeske Strating		Tarik </a:t>
            </a:r>
            <a:r>
              <a:rPr lang="nl-NL" sz="2000" err="1"/>
              <a:t>Pehlivan</a:t>
            </a:r>
            <a:endParaRPr lang="nl-NL" sz="2000"/>
          </a:p>
        </p:txBody>
      </p:sp>
    </p:spTree>
    <p:extLst>
      <p:ext uri="{BB962C8B-B14F-4D97-AF65-F5344CB8AC3E}">
        <p14:creationId xmlns:p14="http://schemas.microsoft.com/office/powerpoint/2010/main" val="3038295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56E9807-B7DA-E84F-ADF4-9A052EAB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oelen van dit </a:t>
            </a:r>
            <a:r>
              <a:rPr lang="nl-NL" dirty="0" err="1"/>
              <a:t>webinar</a:t>
            </a:r>
            <a:endParaRPr lang="nl-NL" dirty="0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08EF91E-08A2-3C40-BD4D-5184F7B4A5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794" y="2210302"/>
            <a:ext cx="11252412" cy="3503239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endParaRPr lang="nl-NL" dirty="0"/>
          </a:p>
          <a:p>
            <a:pPr marL="363220" indent="-363220"/>
            <a:r>
              <a:rPr lang="nl-NL" sz="3200" dirty="0"/>
              <a:t>Verkenning en uitwisseling van jullie specifieke leervragen rondom jongerenparticipatie in de regionale plannen aan de hand van het Be CLEAR! model </a:t>
            </a:r>
          </a:p>
          <a:p>
            <a:pPr marL="0" indent="0">
              <a:buNone/>
            </a:pPr>
            <a:endParaRPr lang="nl-NL" sz="3200" dirty="0"/>
          </a:p>
          <a:p>
            <a:pPr marL="363220" indent="-363220"/>
            <a:r>
              <a:rPr lang="nl-NL" sz="3200" dirty="0"/>
              <a:t>Presentatie van en toelichting op de mogelijkheden voor ondersteuning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117443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395AFA-D799-4DEC-9815-C81644BAEC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202337A-672D-F3FC-ADC5-236987799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439" y="817562"/>
            <a:ext cx="10946799" cy="650587"/>
          </a:xfrm>
        </p:spPr>
        <p:txBody>
          <a:bodyPr/>
          <a:lstStyle/>
          <a:p>
            <a:r>
              <a:rPr lang="nl-NL"/>
              <a:t>Inventarisati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23F88A-6FC7-8025-126D-01EC5AD909F3}"/>
              </a:ext>
            </a:extLst>
          </p:cNvPr>
          <p:cNvSpPr txBox="1"/>
          <p:nvPr/>
        </p:nvSpPr>
        <p:spPr>
          <a:xfrm>
            <a:off x="473102" y="1486240"/>
            <a:ext cx="11553246" cy="15000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 i="1" dirty="0">
                <a:solidFill>
                  <a:schemeClr val="accent1"/>
                </a:solidFill>
              </a:rPr>
              <a:t>Hoe </a:t>
            </a:r>
            <a:r>
              <a:rPr lang="en-US" sz="3200" b="1" i="1" dirty="0" err="1">
                <a:solidFill>
                  <a:schemeClr val="accent1"/>
                </a:solidFill>
              </a:rPr>
              <a:t>ver</a:t>
            </a:r>
            <a:r>
              <a:rPr lang="en-US" sz="3200" b="1" i="1" dirty="0">
                <a:solidFill>
                  <a:schemeClr val="accent1"/>
                </a:solidFill>
              </a:rPr>
              <a:t> </a:t>
            </a:r>
            <a:r>
              <a:rPr lang="en-US" sz="3200" b="1" i="1" dirty="0" err="1">
                <a:solidFill>
                  <a:schemeClr val="accent1"/>
                </a:solidFill>
              </a:rPr>
              <a:t>zijn</a:t>
            </a:r>
            <a:r>
              <a:rPr lang="en-US" sz="3200" b="1" i="1" dirty="0">
                <a:solidFill>
                  <a:schemeClr val="accent1"/>
                </a:solidFill>
              </a:rPr>
              <a:t> </a:t>
            </a:r>
            <a:r>
              <a:rPr lang="en-US" sz="3200" b="1" i="1" dirty="0" err="1">
                <a:solidFill>
                  <a:schemeClr val="accent1"/>
                </a:solidFill>
              </a:rPr>
              <a:t>jullie</a:t>
            </a:r>
            <a:r>
              <a:rPr lang="en-US" sz="3200" b="1" i="1" dirty="0">
                <a:solidFill>
                  <a:schemeClr val="accent1"/>
                </a:solidFill>
              </a:rPr>
              <a:t> met </a:t>
            </a:r>
            <a:r>
              <a:rPr lang="en-US" sz="3200" b="1" i="1" dirty="0" err="1">
                <a:solidFill>
                  <a:schemeClr val="accent1"/>
                </a:solidFill>
              </a:rPr>
              <a:t>jongerenparticipatie</a:t>
            </a:r>
            <a:r>
              <a:rPr lang="en-US" sz="3200" b="1" i="1" dirty="0">
                <a:solidFill>
                  <a:schemeClr val="accent1"/>
                </a:solidFill>
              </a:rPr>
              <a:t> in de </a:t>
            </a:r>
            <a:r>
              <a:rPr lang="en-US" sz="3200" b="1" i="1" dirty="0" err="1">
                <a:solidFill>
                  <a:schemeClr val="accent1"/>
                </a:solidFill>
              </a:rPr>
              <a:t>regionale</a:t>
            </a:r>
            <a:r>
              <a:rPr lang="en-US" sz="3200" b="1" i="1" dirty="0">
                <a:solidFill>
                  <a:schemeClr val="accent1"/>
                </a:solidFill>
              </a:rPr>
              <a:t> </a:t>
            </a:r>
            <a:r>
              <a:rPr lang="en-US" sz="3200" b="1" i="1" dirty="0" err="1">
                <a:solidFill>
                  <a:schemeClr val="accent1"/>
                </a:solidFill>
              </a:rPr>
              <a:t>plannen</a:t>
            </a:r>
            <a:r>
              <a:rPr lang="en-US" sz="3200" b="1" i="1" dirty="0">
                <a:solidFill>
                  <a:schemeClr val="accent1"/>
                </a:solidFill>
              </a:rPr>
              <a:t>?</a:t>
            </a:r>
          </a:p>
          <a:p>
            <a:r>
              <a:rPr lang="en-US" sz="2800" dirty="0">
                <a:solidFill>
                  <a:srgbClr val="000000"/>
                </a:solidFill>
              </a:rPr>
              <a:t>     </a:t>
            </a:r>
            <a:endParaRPr lang="en-US" sz="2800" dirty="0"/>
          </a:p>
          <a:p>
            <a:pPr>
              <a:lnSpc>
                <a:spcPct val="150000"/>
              </a:lnSpc>
            </a:pPr>
            <a:r>
              <a:rPr lang="en-US" sz="2800" dirty="0">
                <a:solidFill>
                  <a:srgbClr val="000000"/>
                </a:solidFill>
              </a:rPr>
              <a:t> </a:t>
            </a:r>
            <a:endParaRPr lang="en-US" sz="2400" dirty="0"/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53572E31-5923-58DE-1330-0C623D5648F5}"/>
              </a:ext>
            </a:extLst>
          </p:cNvPr>
          <p:cNvSpPr/>
          <p:nvPr/>
        </p:nvSpPr>
        <p:spPr>
          <a:xfrm>
            <a:off x="915071" y="2670950"/>
            <a:ext cx="6835574" cy="41295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A. 	Wij </a:t>
            </a:r>
            <a:r>
              <a:rPr lang="en-US" sz="2400" dirty="0" err="1">
                <a:solidFill>
                  <a:srgbClr val="000000"/>
                </a:solidFill>
              </a:rPr>
              <a:t>wete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nog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niet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wanneer</a:t>
            </a:r>
            <a:r>
              <a:rPr lang="en-US" sz="2400" dirty="0">
                <a:solidFill>
                  <a:srgbClr val="000000"/>
                </a:solidFill>
              </a:rPr>
              <a:t> we </a:t>
            </a:r>
            <a:r>
              <a:rPr lang="en-US" sz="2400" dirty="0" err="1">
                <a:solidFill>
                  <a:srgbClr val="000000"/>
                </a:solidFill>
              </a:rPr>
              <a:t>gaa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starten</a:t>
            </a:r>
            <a:endParaRPr lang="nl-NL" sz="2400" dirty="0" err="1"/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E0CE0277-16C6-3174-8BBB-57CE68230D9F}"/>
              </a:ext>
            </a:extLst>
          </p:cNvPr>
          <p:cNvSpPr/>
          <p:nvPr/>
        </p:nvSpPr>
        <p:spPr>
          <a:xfrm>
            <a:off x="915071" y="3200012"/>
            <a:ext cx="6835574" cy="41295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B. 	Wij </a:t>
            </a:r>
            <a:r>
              <a:rPr lang="en-US" sz="2400" dirty="0" err="1">
                <a:solidFill>
                  <a:srgbClr val="000000"/>
                </a:solidFill>
              </a:rPr>
              <a:t>gaa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binnen</a:t>
            </a:r>
            <a:r>
              <a:rPr lang="en-US" sz="2400" dirty="0">
                <a:solidFill>
                  <a:srgbClr val="000000"/>
                </a:solidFill>
              </a:rPr>
              <a:t> nu en 1 </a:t>
            </a:r>
            <a:r>
              <a:rPr lang="en-US" sz="2400" dirty="0" err="1">
                <a:solidFill>
                  <a:srgbClr val="000000"/>
                </a:solidFill>
              </a:rPr>
              <a:t>maand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starten</a:t>
            </a:r>
            <a:endParaRPr lang="nl-NL" sz="2400" dirty="0" err="1"/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44FA6D2E-AA8D-38E5-6CD7-FA23544B338B}"/>
              </a:ext>
            </a:extLst>
          </p:cNvPr>
          <p:cNvSpPr/>
          <p:nvPr/>
        </p:nvSpPr>
        <p:spPr>
          <a:xfrm>
            <a:off x="915071" y="3729074"/>
            <a:ext cx="6835574" cy="41295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C. 	Wij </a:t>
            </a:r>
            <a:r>
              <a:rPr lang="en-US" sz="2400" dirty="0" err="1">
                <a:solidFill>
                  <a:srgbClr val="000000"/>
                </a:solidFill>
              </a:rPr>
              <a:t>starte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binnen</a:t>
            </a:r>
            <a:r>
              <a:rPr lang="en-US" sz="2400" dirty="0">
                <a:solidFill>
                  <a:srgbClr val="000000"/>
                </a:solidFill>
              </a:rPr>
              <a:t> 2 tot 6 </a:t>
            </a:r>
            <a:r>
              <a:rPr lang="en-US" sz="2400" dirty="0" err="1">
                <a:solidFill>
                  <a:srgbClr val="000000"/>
                </a:solidFill>
              </a:rPr>
              <a:t>maanden</a:t>
            </a:r>
            <a:endParaRPr lang="nl-NL" sz="2400" dirty="0" err="1"/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61DB88BC-062D-75E0-F0D9-33D845731760}"/>
              </a:ext>
            </a:extLst>
          </p:cNvPr>
          <p:cNvSpPr/>
          <p:nvPr/>
        </p:nvSpPr>
        <p:spPr>
          <a:xfrm>
            <a:off x="915071" y="4285362"/>
            <a:ext cx="6835574" cy="41295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D. 	Wij </a:t>
            </a:r>
            <a:r>
              <a:rPr lang="en-US" sz="2400" dirty="0" err="1">
                <a:solidFill>
                  <a:srgbClr val="000000"/>
                </a:solidFill>
              </a:rPr>
              <a:t>starten</a:t>
            </a:r>
            <a:r>
              <a:rPr lang="en-US" sz="2400" dirty="0">
                <a:solidFill>
                  <a:srgbClr val="000000"/>
                </a:solidFill>
              </a:rPr>
              <a:t> over minimal 6 </a:t>
            </a:r>
            <a:r>
              <a:rPr lang="en-US" sz="2400" dirty="0" err="1">
                <a:solidFill>
                  <a:srgbClr val="000000"/>
                </a:solidFill>
              </a:rPr>
              <a:t>maanden</a:t>
            </a:r>
            <a:endParaRPr lang="nl-NL" sz="2400" dirty="0" err="1"/>
          </a:p>
        </p:txBody>
      </p:sp>
      <p:sp>
        <p:nvSpPr>
          <p:cNvPr id="11" name="Rechthoek: afgeronde hoeken 10">
            <a:extLst>
              <a:ext uri="{FF2B5EF4-FFF2-40B4-BE49-F238E27FC236}">
                <a16:creationId xmlns:a16="http://schemas.microsoft.com/office/drawing/2014/main" id="{3B663054-D48D-937E-9FD3-23C7472640ED}"/>
              </a:ext>
            </a:extLst>
          </p:cNvPr>
          <p:cNvSpPr/>
          <p:nvPr/>
        </p:nvSpPr>
        <p:spPr>
          <a:xfrm>
            <a:off x="915071" y="4824678"/>
            <a:ext cx="6835574" cy="41295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E. 	Wij </a:t>
            </a:r>
            <a:r>
              <a:rPr lang="en-US" sz="2400" dirty="0" err="1">
                <a:solidFill>
                  <a:srgbClr val="000000"/>
                </a:solidFill>
              </a:rPr>
              <a:t>zijn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druk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sz="2400" dirty="0" err="1">
                <a:solidFill>
                  <a:srgbClr val="000000"/>
                </a:solidFill>
              </a:rPr>
              <a:t>bezig</a:t>
            </a:r>
            <a:r>
              <a:rPr lang="en-US" sz="2400" dirty="0">
                <a:solidFill>
                  <a:srgbClr val="000000"/>
                </a:solidFill>
              </a:rPr>
              <a:t> met de </a:t>
            </a:r>
            <a:r>
              <a:rPr lang="en-US" sz="2400" dirty="0" err="1">
                <a:solidFill>
                  <a:srgbClr val="000000"/>
                </a:solidFill>
              </a:rPr>
              <a:t>uitvoering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endParaRPr lang="nl-NL" sz="2400" dirty="0" err="1"/>
          </a:p>
        </p:txBody>
      </p:sp>
      <p:sp>
        <p:nvSpPr>
          <p:cNvPr id="12" name="Rechthoek: afgeronde hoeken 11">
            <a:extLst>
              <a:ext uri="{FF2B5EF4-FFF2-40B4-BE49-F238E27FC236}">
                <a16:creationId xmlns:a16="http://schemas.microsoft.com/office/drawing/2014/main" id="{9F5BD9E2-9989-E064-1A6B-B34980E82322}"/>
              </a:ext>
            </a:extLst>
          </p:cNvPr>
          <p:cNvSpPr/>
          <p:nvPr/>
        </p:nvSpPr>
        <p:spPr>
          <a:xfrm>
            <a:off x="915071" y="5371760"/>
            <a:ext cx="6835574" cy="412955"/>
          </a:xfrm>
          <a:prstGeom prst="roundRect">
            <a:avLst/>
          </a:prstGeom>
          <a:solidFill>
            <a:srgbClr val="DEEED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en-US" sz="2400" dirty="0">
                <a:solidFill>
                  <a:srgbClr val="000000"/>
                </a:solidFill>
              </a:rPr>
              <a:t>F. 	Wij </a:t>
            </a:r>
            <a:r>
              <a:rPr lang="en-US" sz="2400" dirty="0" err="1">
                <a:solidFill>
                  <a:srgbClr val="000000"/>
                </a:solidFill>
              </a:rPr>
              <a:t>zijn</a:t>
            </a:r>
            <a:r>
              <a:rPr lang="en-US" sz="2400" dirty="0">
                <a:solidFill>
                  <a:srgbClr val="000000"/>
                </a:solidFill>
              </a:rPr>
              <a:t> al (</a:t>
            </a:r>
            <a:r>
              <a:rPr lang="en-US" sz="2400" dirty="0" err="1">
                <a:solidFill>
                  <a:srgbClr val="000000"/>
                </a:solidFill>
              </a:rPr>
              <a:t>bijna</a:t>
            </a:r>
            <a:r>
              <a:rPr lang="en-US" sz="2400" dirty="0">
                <a:solidFill>
                  <a:srgbClr val="000000"/>
                </a:solidFill>
              </a:rPr>
              <a:t>) </a:t>
            </a:r>
            <a:r>
              <a:rPr lang="en-US" sz="2400" dirty="0" err="1">
                <a:solidFill>
                  <a:srgbClr val="000000"/>
                </a:solidFill>
              </a:rPr>
              <a:t>klaar</a:t>
            </a:r>
            <a:endParaRPr lang="nl-NL" sz="2400" dirty="0" err="1"/>
          </a:p>
        </p:txBody>
      </p:sp>
    </p:spTree>
    <p:extLst>
      <p:ext uri="{BB962C8B-B14F-4D97-AF65-F5344CB8AC3E}">
        <p14:creationId xmlns:p14="http://schemas.microsoft.com/office/powerpoint/2010/main" val="2678585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Schoolbenodigdheden in een doos">
            <a:extLst>
              <a:ext uri="{FF2B5EF4-FFF2-40B4-BE49-F238E27FC236}">
                <a16:creationId xmlns:a16="http://schemas.microsoft.com/office/drawing/2014/main" id="{443BE5F8-45AD-8DDC-28C0-4FAC7721006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869" r="26481"/>
          <a:stretch/>
        </p:blipFill>
        <p:spPr>
          <a:xfrm>
            <a:off x="6762307" y="10"/>
            <a:ext cx="5429693" cy="6857990"/>
          </a:xfrm>
          <a:prstGeom prst="rect">
            <a:avLst/>
          </a:prstGeom>
          <a:noFill/>
        </p:spPr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C8B3577-E9D6-4A53-8B9A-A420137781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1" y="1765964"/>
            <a:ext cx="5653087" cy="409343"/>
          </a:xfrm>
        </p:spPr>
        <p:txBody>
          <a:bodyPr wrap="square"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l-NL" sz="2600"/>
              <a:t>Behulpzame tool voor participatie</a:t>
            </a:r>
            <a:endParaRPr lang="nl-NL" sz="2600" b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672B032-784A-469F-9365-8517D4C5F6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8941" y="6253936"/>
            <a:ext cx="5292000" cy="184666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l-NL" dirty="0" err="1"/>
              <a:t>Lowndes</a:t>
            </a:r>
            <a:r>
              <a:rPr lang="nl-NL" dirty="0"/>
              <a:t>, Pratchett en Stoker (2006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7E0C0D-D193-4758-B0DE-1843DBA42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817562"/>
            <a:ext cx="5653087" cy="526298"/>
          </a:xfrm>
        </p:spPr>
        <p:txBody>
          <a:bodyPr wrap="square" anchor="t">
            <a:normAutofit/>
          </a:bodyPr>
          <a:lstStyle/>
          <a:p>
            <a:r>
              <a:rPr lang="nl-NL"/>
              <a:t>Be CLEAR!</a:t>
            </a:r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D737B896-B2F3-4129-992B-D3EA1A658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2" y="2304000"/>
            <a:ext cx="5653087" cy="3357025"/>
          </a:xfrm>
        </p:spPr>
        <p:txBody>
          <a:bodyPr vert="horz" lIns="0" tIns="0" rIns="0" bIns="0" rtlCol="0">
            <a:normAutofit/>
          </a:bodyPr>
          <a:lstStyle/>
          <a:p>
            <a:pPr marL="363220" indent="-363220">
              <a:spcAft>
                <a:spcPts val="600"/>
              </a:spcAft>
            </a:pPr>
            <a:r>
              <a:rPr lang="nl-NL"/>
              <a:t>Biedt inzicht in belemmeringen en wat nodig is voor de organisatie van inclusieve jongerenparticipatie</a:t>
            </a:r>
            <a:br>
              <a:rPr lang="nl-NL"/>
            </a:br>
            <a:endParaRPr lang="nl-NL"/>
          </a:p>
          <a:p>
            <a:pPr marL="363220" indent="-363220">
              <a:spcAft>
                <a:spcPts val="600"/>
              </a:spcAft>
            </a:pPr>
            <a:r>
              <a:rPr lang="nl-NL"/>
              <a:t>Relevante factoren: </a:t>
            </a:r>
            <a:r>
              <a:rPr lang="nl-NL" b="1" err="1"/>
              <a:t>C</a:t>
            </a:r>
            <a:r>
              <a:rPr lang="nl-NL" err="1"/>
              <a:t>an</a:t>
            </a:r>
            <a:r>
              <a:rPr lang="nl-NL"/>
              <a:t> do, </a:t>
            </a:r>
            <a:r>
              <a:rPr lang="nl-NL" b="1"/>
              <a:t>L</a:t>
            </a:r>
            <a:r>
              <a:rPr lang="nl-NL"/>
              <a:t>ike </a:t>
            </a:r>
            <a:r>
              <a:rPr lang="nl-NL" err="1"/>
              <a:t>to</a:t>
            </a:r>
            <a:r>
              <a:rPr lang="nl-NL"/>
              <a:t>, </a:t>
            </a:r>
            <a:r>
              <a:rPr lang="nl-NL" b="1" err="1"/>
              <a:t>E</a:t>
            </a:r>
            <a:r>
              <a:rPr lang="nl-NL" err="1"/>
              <a:t>nabled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, </a:t>
            </a:r>
            <a:r>
              <a:rPr lang="nl-NL" b="1" err="1"/>
              <a:t>A</a:t>
            </a:r>
            <a:r>
              <a:rPr lang="nl-NL" err="1"/>
              <a:t>sked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, </a:t>
            </a:r>
            <a:r>
              <a:rPr lang="nl-NL" b="1" err="1"/>
              <a:t>R</a:t>
            </a:r>
            <a:r>
              <a:rPr lang="nl-NL" err="1"/>
              <a:t>esponded</a:t>
            </a:r>
            <a:r>
              <a:rPr lang="nl-NL"/>
              <a:t> </a:t>
            </a:r>
            <a:r>
              <a:rPr lang="nl-NL" err="1"/>
              <a:t>to</a:t>
            </a:r>
            <a:endParaRPr lang="nl-NL"/>
          </a:p>
          <a:p>
            <a:pPr marL="363220" indent="-363220">
              <a:spcAft>
                <a:spcPts val="600"/>
              </a:spcAft>
            </a:pPr>
            <a:endParaRPr lang="nl-NL"/>
          </a:p>
          <a:p>
            <a:pPr marL="363220" indent="-363220">
              <a:spcAft>
                <a:spcPts val="600"/>
              </a:spcAft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748714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alpha val="32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2B8F87B-632B-9D73-B4D6-B5D1022BAF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4D5057BE-F666-73AE-AE4B-4C48AA420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179" y="817562"/>
            <a:ext cx="11176059" cy="1218795"/>
          </a:xfrm>
        </p:spPr>
        <p:txBody>
          <a:bodyPr/>
          <a:lstStyle/>
          <a:p>
            <a:r>
              <a:rPr lang="nl-NL"/>
              <a:t>Reflectievragen bij de relevante factoren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3A007405-5299-CE9D-20B4-07AAD653B317}"/>
              </a:ext>
            </a:extLst>
          </p:cNvPr>
          <p:cNvSpPr txBox="1"/>
          <p:nvPr/>
        </p:nvSpPr>
        <p:spPr>
          <a:xfrm>
            <a:off x="1170767" y="2126871"/>
            <a:ext cx="5255917" cy="27699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3600" b="1" i="1" dirty="0"/>
              <a:t>Wat</a:t>
            </a:r>
            <a:r>
              <a:rPr lang="nl-NL" sz="3600" dirty="0"/>
              <a:t> wil ik doen?</a:t>
            </a:r>
          </a:p>
          <a:p>
            <a:endParaRPr lang="nl-NL" sz="3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3600" dirty="0"/>
              <a:t>Wat wil ik </a:t>
            </a:r>
            <a:r>
              <a:rPr lang="nl-NL" sz="3600" b="1" i="1" dirty="0"/>
              <a:t>anders</a:t>
            </a:r>
            <a:r>
              <a:rPr lang="nl-NL" sz="3600" dirty="0"/>
              <a:t> doen?</a:t>
            </a:r>
          </a:p>
          <a:p>
            <a:endParaRPr lang="nl-NL" sz="3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3600" dirty="0"/>
              <a:t>Wat wil ik </a:t>
            </a:r>
            <a:r>
              <a:rPr lang="nl-NL" sz="3600" b="1" i="1" dirty="0"/>
              <a:t>leren</a:t>
            </a:r>
            <a:r>
              <a:rPr lang="nl-NL" sz="36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452055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56E9807-B7DA-E84F-ADF4-9A052EAB3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B4067C10-BCCA-C4AE-86C1-BA90C222C04B}"/>
              </a:ext>
            </a:extLst>
          </p:cNvPr>
          <p:cNvGrpSpPr/>
          <p:nvPr/>
        </p:nvGrpSpPr>
        <p:grpSpPr>
          <a:xfrm>
            <a:off x="88033" y="2592456"/>
            <a:ext cx="11813205" cy="2813198"/>
            <a:chOff x="88033" y="2592456"/>
            <a:chExt cx="11813205" cy="2813198"/>
          </a:xfrm>
        </p:grpSpPr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4A52FA8D-EF2B-2A16-2CD5-5F315BF27BCF}"/>
                </a:ext>
              </a:extLst>
            </p:cNvPr>
            <p:cNvGrpSpPr/>
            <p:nvPr/>
          </p:nvGrpSpPr>
          <p:grpSpPr>
            <a:xfrm>
              <a:off x="274375" y="2592456"/>
              <a:ext cx="10219228" cy="935610"/>
              <a:chOff x="717435" y="2602610"/>
              <a:chExt cx="10219228" cy="935610"/>
            </a:xfrm>
          </p:grpSpPr>
          <p:pic>
            <p:nvPicPr>
              <p:cNvPr id="5" name="Graphic 4" descr="Gespierde arm silhouet">
                <a:extLst>
                  <a:ext uri="{FF2B5EF4-FFF2-40B4-BE49-F238E27FC236}">
                    <a16:creationId xmlns:a16="http://schemas.microsoft.com/office/drawing/2014/main" id="{4873332D-15C3-8C73-78D9-7BECB4A372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17435" y="262382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0" name="Graphic 9" descr="Zorg silhouet">
                <a:extLst>
                  <a:ext uri="{FF2B5EF4-FFF2-40B4-BE49-F238E27FC236}">
                    <a16:creationId xmlns:a16="http://schemas.microsoft.com/office/drawing/2014/main" id="{6D2C9037-A8EC-5A6B-26A4-51000E26C3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240516" y="260261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4" name="Graphic 13" descr="Vragen silhouet">
                <a:extLst>
                  <a:ext uri="{FF2B5EF4-FFF2-40B4-BE49-F238E27FC236}">
                    <a16:creationId xmlns:a16="http://schemas.microsoft.com/office/drawing/2014/main" id="{7ED988CB-C9A0-9957-AAB2-82B537AEB3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547726" y="262382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6" name="Graphic 15" descr="Klantbeoordeling silhouet">
                <a:extLst>
                  <a:ext uri="{FF2B5EF4-FFF2-40B4-BE49-F238E27FC236}">
                    <a16:creationId xmlns:a16="http://schemas.microsoft.com/office/drawing/2014/main" id="{78A2E29B-9F04-5EC4-241C-F482E5F990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0022263" y="2623820"/>
                <a:ext cx="914400" cy="914400"/>
              </a:xfrm>
              <a:prstGeom prst="rect">
                <a:avLst/>
              </a:prstGeom>
            </p:spPr>
          </p:pic>
        </p:grpSp>
        <p:pic>
          <p:nvPicPr>
            <p:cNvPr id="18" name="Graphic 17" descr="Opmerking: leuk silhouet">
              <a:extLst>
                <a:ext uri="{FF2B5EF4-FFF2-40B4-BE49-F238E27FC236}">
                  <a16:creationId xmlns:a16="http://schemas.microsoft.com/office/drawing/2014/main" id="{27D47909-65E4-1B19-8DBF-697B00B61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234866" y="2592456"/>
              <a:ext cx="1028092" cy="1028092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7EAB0180-48FA-365D-2ACC-0DBD519098CE}"/>
                </a:ext>
              </a:extLst>
            </p:cNvPr>
            <p:cNvGrpSpPr/>
            <p:nvPr/>
          </p:nvGrpSpPr>
          <p:grpSpPr>
            <a:xfrm>
              <a:off x="88033" y="3620548"/>
              <a:ext cx="11813205" cy="1785106"/>
              <a:chOff x="531093" y="3782956"/>
              <a:chExt cx="11813205" cy="1785106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02A7ED7C-A153-AB57-E761-A44B2478888D}"/>
                  </a:ext>
                </a:extLst>
              </p:cNvPr>
              <p:cNvSpPr txBox="1"/>
              <p:nvPr/>
            </p:nvSpPr>
            <p:spPr>
              <a:xfrm>
                <a:off x="531093" y="3782958"/>
                <a:ext cx="1787901" cy="15388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3600" b="1" err="1">
                    <a:solidFill>
                      <a:schemeClr val="accent1"/>
                    </a:solidFill>
                  </a:rPr>
                  <a:t>Can</a:t>
                </a:r>
                <a:r>
                  <a:rPr lang="nl-NL" sz="3600" b="1">
                    <a:solidFill>
                      <a:schemeClr val="accent1"/>
                    </a:solidFill>
                  </a:rPr>
                  <a:t> do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Toegankelijke informatie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Praktische ondersteuning</a:t>
                </a:r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0711262C-4735-A1BF-A6C6-7B3980FA9167}"/>
                  </a:ext>
                </a:extLst>
              </p:cNvPr>
              <p:cNvSpPr txBox="1"/>
              <p:nvPr/>
            </p:nvSpPr>
            <p:spPr>
              <a:xfrm>
                <a:off x="2529727" y="3782958"/>
                <a:ext cx="1787901" cy="17851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3600" b="1">
                    <a:solidFill>
                      <a:schemeClr val="accent1"/>
                    </a:solidFill>
                  </a:rPr>
                  <a:t>Like </a:t>
                </a:r>
                <a:r>
                  <a:rPr lang="nl-NL" sz="36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36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Veilige omgeving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Betrokkenheid bij het onderwerp</a:t>
                </a:r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45D2A40B-7670-982D-8E45-9872543F3155}"/>
                  </a:ext>
                </a:extLst>
              </p:cNvPr>
              <p:cNvSpPr txBox="1"/>
              <p:nvPr/>
            </p:nvSpPr>
            <p:spPr>
              <a:xfrm>
                <a:off x="4570831" y="3782958"/>
                <a:ext cx="2285951" cy="15388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3600" b="1" err="1">
                    <a:solidFill>
                      <a:schemeClr val="accent1"/>
                    </a:solidFill>
                  </a:rPr>
                  <a:t>Enabled</a:t>
                </a:r>
                <a:r>
                  <a:rPr lang="nl-NL" sz="3600" b="1">
                    <a:solidFill>
                      <a:schemeClr val="accent1"/>
                    </a:solidFill>
                  </a:rPr>
                  <a:t> </a:t>
                </a:r>
                <a:r>
                  <a:rPr lang="nl-NL" sz="36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36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Training en vaardigheden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Netwerk en begeleiding</a:t>
                </a:r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497DBD65-0717-E3DF-F245-A0CF9AD7AFC7}"/>
                  </a:ext>
                </a:extLst>
              </p:cNvPr>
              <p:cNvSpPr txBox="1"/>
              <p:nvPr/>
            </p:nvSpPr>
            <p:spPr>
              <a:xfrm>
                <a:off x="7357670" y="3782957"/>
                <a:ext cx="1946586" cy="153888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3600" b="1" err="1">
                    <a:solidFill>
                      <a:schemeClr val="accent1"/>
                    </a:solidFill>
                  </a:rPr>
                  <a:t>Asked</a:t>
                </a:r>
                <a:r>
                  <a:rPr lang="nl-NL" sz="3600" b="1">
                    <a:solidFill>
                      <a:schemeClr val="accent1"/>
                    </a:solidFill>
                  </a:rPr>
                  <a:t> </a:t>
                </a:r>
                <a:r>
                  <a:rPr lang="nl-NL" sz="3600" b="1" err="1">
                    <a:solidFill>
                      <a:schemeClr val="accent1"/>
                    </a:solidFill>
                  </a:rPr>
                  <a:t>to</a:t>
                </a:r>
                <a:r>
                  <a:rPr lang="nl-NL" sz="3600" b="1">
                    <a:solidFill>
                      <a:schemeClr val="accent1"/>
                    </a:solidFill>
                  </a:rPr>
                  <a:t>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Inclusieve communicatie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Actieve uitnodiging</a:t>
                </a:r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2C63826F-DFD9-193B-438D-E29103AE24D7}"/>
                  </a:ext>
                </a:extLst>
              </p:cNvPr>
              <p:cNvSpPr txBox="1"/>
              <p:nvPr/>
            </p:nvSpPr>
            <p:spPr>
              <a:xfrm>
                <a:off x="9585512" y="3782956"/>
                <a:ext cx="2758786" cy="129266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3600" b="1" err="1">
                    <a:solidFill>
                      <a:schemeClr val="accent1"/>
                    </a:solidFill>
                  </a:rPr>
                  <a:t>Responded</a:t>
                </a:r>
                <a:r>
                  <a:rPr lang="nl-NL" sz="3600" b="1">
                    <a:solidFill>
                      <a:schemeClr val="accent1"/>
                    </a:solidFill>
                  </a:rPr>
                  <a:t> </a:t>
                </a:r>
                <a:r>
                  <a:rPr lang="nl-NL" sz="3600" b="1" err="1">
                    <a:solidFill>
                      <a:schemeClr val="accent1"/>
                    </a:solidFill>
                  </a:rPr>
                  <a:t>to</a:t>
                </a:r>
                <a:endParaRPr lang="nl-NL" sz="3600" b="1">
                  <a:solidFill>
                    <a:schemeClr val="accent1"/>
                  </a:solidFill>
                </a:endParaRP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Transparante terugkoppeling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1600"/>
                  <a:t>Gelijkwaardige interactie</a:t>
                </a:r>
              </a:p>
            </p:txBody>
          </p:sp>
        </p:grpSp>
      </p:grp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029A8CE0-BA8F-47BA-D59B-A59E00DF4377}"/>
              </a:ext>
            </a:extLst>
          </p:cNvPr>
          <p:cNvCxnSpPr>
            <a:cxnSpLocks/>
          </p:cNvCxnSpPr>
          <p:nvPr/>
        </p:nvCxnSpPr>
        <p:spPr>
          <a:xfrm flipV="1">
            <a:off x="1875934" y="2512291"/>
            <a:ext cx="0" cy="2893363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A14C9064-0D6A-AE70-4172-6D79A8CDE252}"/>
              </a:ext>
            </a:extLst>
          </p:cNvPr>
          <p:cNvCxnSpPr>
            <a:cxnSpLocks/>
          </p:cNvCxnSpPr>
          <p:nvPr/>
        </p:nvCxnSpPr>
        <p:spPr>
          <a:xfrm flipV="1">
            <a:off x="3874568" y="2512291"/>
            <a:ext cx="0" cy="2893363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283D83E0-D10E-40F3-F235-285F60717C57}"/>
              </a:ext>
            </a:extLst>
          </p:cNvPr>
          <p:cNvCxnSpPr>
            <a:cxnSpLocks/>
          </p:cNvCxnSpPr>
          <p:nvPr/>
        </p:nvCxnSpPr>
        <p:spPr>
          <a:xfrm flipV="1">
            <a:off x="6600334" y="2512291"/>
            <a:ext cx="0" cy="2893363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chte verbindingslijn 12">
            <a:extLst>
              <a:ext uri="{FF2B5EF4-FFF2-40B4-BE49-F238E27FC236}">
                <a16:creationId xmlns:a16="http://schemas.microsoft.com/office/drawing/2014/main" id="{965B83E3-D566-7438-A38E-A53C058E1489}"/>
              </a:ext>
            </a:extLst>
          </p:cNvPr>
          <p:cNvCxnSpPr>
            <a:cxnSpLocks/>
          </p:cNvCxnSpPr>
          <p:nvPr/>
        </p:nvCxnSpPr>
        <p:spPr>
          <a:xfrm flipV="1">
            <a:off x="9001789" y="2512291"/>
            <a:ext cx="0" cy="2893363"/>
          </a:xfrm>
          <a:prstGeom prst="line">
            <a:avLst/>
          </a:prstGeom>
          <a:ln w="190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4939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95C54C-015E-70E6-7506-3AC7E58472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BC4D55B-E69B-7B69-EA83-EC761175C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17562"/>
            <a:ext cx="10658475" cy="609398"/>
          </a:xfrm>
        </p:spPr>
        <p:txBody>
          <a:bodyPr/>
          <a:lstStyle/>
          <a:p>
            <a:r>
              <a:rPr lang="nl-NL"/>
              <a:t>Relevante factoren</a:t>
            </a:r>
          </a:p>
        </p:txBody>
      </p:sp>
      <p:grpSp>
        <p:nvGrpSpPr>
          <p:cNvPr id="27" name="Groep 26">
            <a:extLst>
              <a:ext uri="{FF2B5EF4-FFF2-40B4-BE49-F238E27FC236}">
                <a16:creationId xmlns:a16="http://schemas.microsoft.com/office/drawing/2014/main" id="{A738A827-D76E-1A54-ECE6-8976592737AB}"/>
              </a:ext>
            </a:extLst>
          </p:cNvPr>
          <p:cNvGrpSpPr/>
          <p:nvPr/>
        </p:nvGrpSpPr>
        <p:grpSpPr>
          <a:xfrm>
            <a:off x="833544" y="2087954"/>
            <a:ext cx="11074000" cy="3103025"/>
            <a:chOff x="827238" y="2069035"/>
            <a:chExt cx="11074000" cy="3103025"/>
          </a:xfrm>
        </p:grpSpPr>
        <p:pic>
          <p:nvPicPr>
            <p:cNvPr id="5" name="Graphic 4" descr="Gespierde arm silhouet">
              <a:extLst>
                <a:ext uri="{FF2B5EF4-FFF2-40B4-BE49-F238E27FC236}">
                  <a16:creationId xmlns:a16="http://schemas.microsoft.com/office/drawing/2014/main" id="{AEC91CBC-4E50-8E39-4E26-B567B8F74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590939" y="2069035"/>
              <a:ext cx="3103025" cy="3103025"/>
            </a:xfrm>
            <a:prstGeom prst="rect">
              <a:avLst/>
            </a:prstGeom>
          </p:spPr>
        </p:pic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93C80267-B68A-E325-7FE0-F9CA571F2CDB}"/>
                </a:ext>
              </a:extLst>
            </p:cNvPr>
            <p:cNvGrpSpPr/>
            <p:nvPr/>
          </p:nvGrpSpPr>
          <p:grpSpPr>
            <a:xfrm>
              <a:off x="827238" y="2952102"/>
              <a:ext cx="11074000" cy="2123658"/>
              <a:chOff x="1270298" y="3114510"/>
              <a:chExt cx="11074000" cy="2123658"/>
            </a:xfrm>
          </p:grpSpPr>
          <p:sp>
            <p:nvSpPr>
              <p:cNvPr id="20" name="Tekstvak 19">
                <a:extLst>
                  <a:ext uri="{FF2B5EF4-FFF2-40B4-BE49-F238E27FC236}">
                    <a16:creationId xmlns:a16="http://schemas.microsoft.com/office/drawing/2014/main" id="{C4960637-1906-966E-5AC2-2C3A297C1247}"/>
                  </a:ext>
                </a:extLst>
              </p:cNvPr>
              <p:cNvSpPr txBox="1"/>
              <p:nvPr/>
            </p:nvSpPr>
            <p:spPr>
              <a:xfrm>
                <a:off x="1270298" y="3114510"/>
                <a:ext cx="6362082" cy="21236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nl-NL" sz="6600" b="1" err="1">
                    <a:solidFill>
                      <a:schemeClr val="accent1"/>
                    </a:solidFill>
                  </a:rPr>
                  <a:t>Can</a:t>
                </a:r>
                <a:r>
                  <a:rPr lang="nl-NL" sz="6600" b="1">
                    <a:solidFill>
                      <a:schemeClr val="accent1"/>
                    </a:solidFill>
                  </a:rPr>
                  <a:t> do: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600"/>
                  <a:t>Toegankelijke informatie</a:t>
                </a:r>
              </a:p>
              <a:p>
                <a:pPr marL="342900" indent="-342900" algn="l">
                  <a:buFont typeface="Arial" panose="020B0604020202020204" pitchFamily="34" charset="0"/>
                  <a:buChar char="•"/>
                </a:pPr>
                <a:r>
                  <a:rPr lang="nl-NL" sz="3600"/>
                  <a:t>Praktische ondersteuning</a:t>
                </a:r>
              </a:p>
            </p:txBody>
          </p:sp>
          <p:sp>
            <p:nvSpPr>
              <p:cNvPr id="21" name="Tekstvak 20">
                <a:extLst>
                  <a:ext uri="{FF2B5EF4-FFF2-40B4-BE49-F238E27FC236}">
                    <a16:creationId xmlns:a16="http://schemas.microsoft.com/office/drawing/2014/main" id="{EA804CD9-5F0F-D484-4AD0-41B43B39DB2E}"/>
                  </a:ext>
                </a:extLst>
              </p:cNvPr>
              <p:cNvSpPr txBox="1"/>
              <p:nvPr/>
            </p:nvSpPr>
            <p:spPr>
              <a:xfrm>
                <a:off x="2529727" y="3782958"/>
                <a:ext cx="178790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2" name="Tekstvak 21">
                <a:extLst>
                  <a:ext uri="{FF2B5EF4-FFF2-40B4-BE49-F238E27FC236}">
                    <a16:creationId xmlns:a16="http://schemas.microsoft.com/office/drawing/2014/main" id="{BB6F4842-20B4-FFFD-FDFD-E6409BC5E63F}"/>
                  </a:ext>
                </a:extLst>
              </p:cNvPr>
              <p:cNvSpPr txBox="1"/>
              <p:nvPr/>
            </p:nvSpPr>
            <p:spPr>
              <a:xfrm>
                <a:off x="4570831" y="3782958"/>
                <a:ext cx="228595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3" name="Tekstvak 22">
                <a:extLst>
                  <a:ext uri="{FF2B5EF4-FFF2-40B4-BE49-F238E27FC236}">
                    <a16:creationId xmlns:a16="http://schemas.microsoft.com/office/drawing/2014/main" id="{5A9A34C4-2E6C-60D1-AB83-186324F1C2AC}"/>
                  </a:ext>
                </a:extLst>
              </p:cNvPr>
              <p:cNvSpPr txBox="1"/>
              <p:nvPr/>
            </p:nvSpPr>
            <p:spPr>
              <a:xfrm>
                <a:off x="7357670" y="3782957"/>
                <a:ext cx="19465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  <p:sp>
            <p:nvSpPr>
              <p:cNvPr id="24" name="Tekstvak 23">
                <a:extLst>
                  <a:ext uri="{FF2B5EF4-FFF2-40B4-BE49-F238E27FC236}">
                    <a16:creationId xmlns:a16="http://schemas.microsoft.com/office/drawing/2014/main" id="{4F2C9737-7EA6-0F6D-967B-CDEC022E1080}"/>
                  </a:ext>
                </a:extLst>
              </p:cNvPr>
              <p:cNvSpPr txBox="1"/>
              <p:nvPr/>
            </p:nvSpPr>
            <p:spPr>
              <a:xfrm>
                <a:off x="9585512" y="3782956"/>
                <a:ext cx="2758786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endParaRPr lang="nl-NL" sz="16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9025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kO.N0DQx.luRnTvaie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BnFyN0SW.w4QGLDzpq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PyKUPATaukSOzs1vX8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W6YT8gTpG44m27LMf1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W6YT8gTpG44m27LMf1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W6YT8gTpG44m27LMf1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y00XTlTLim.1WzEnxF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y00XTlTLim.1WzEnxF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y00XTlTLim.1WzEnxF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lwaE8QREmEBroO2ZWZ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y00XTlTLim.1WzEnxFZ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m5Esq0TWyzG1OZ8ZxU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m5Esq0TWyzG1OZ8ZxU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a3ELndTNGNtuh5l0Is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m5Esq0TWyzG1OZ8ZxU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a3ELndTNGNtuh5l0Is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.PCnmQ5Ot.oH.MpHt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MA Corbel">
  <a:themeElements>
    <a:clrScheme name="EMMA 2019">
      <a:dk1>
        <a:srgbClr val="404040"/>
      </a:dk1>
      <a:lt1>
        <a:sysClr val="window" lastClr="FFFFFF"/>
      </a:lt1>
      <a:dk2>
        <a:srgbClr val="000000"/>
      </a:dk2>
      <a:lt2>
        <a:srgbClr val="FFFFFF"/>
      </a:lt2>
      <a:accent1>
        <a:srgbClr val="E40046"/>
      </a:accent1>
      <a:accent2>
        <a:srgbClr val="FEDB00"/>
      </a:accent2>
      <a:accent3>
        <a:srgbClr val="00968F"/>
      </a:accent3>
      <a:accent4>
        <a:srgbClr val="FFA300"/>
      </a:accent4>
      <a:accent5>
        <a:srgbClr val="3F2A56"/>
      </a:accent5>
      <a:accent6>
        <a:srgbClr val="94795D"/>
      </a:accent6>
      <a:hlink>
        <a:srgbClr val="262626"/>
      </a:hlink>
      <a:folHlink>
        <a:srgbClr val="262626"/>
      </a:folHlink>
    </a:clrScheme>
    <a:fontScheme name="EMMA 2019 Office Fonts">
      <a:majorFont>
        <a:latin typeface="Century Gothic"/>
        <a:ea typeface=""/>
        <a:cs typeface=""/>
      </a:majorFont>
      <a:minorFont>
        <a:latin typeface="Corbel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0">
          <a:solidFill>
            <a:schemeClr val="accent1"/>
          </a:solidFill>
          <a:headEnd type="none" w="med" len="med"/>
          <a:tailEnd type="arrow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1" id="{02AE7232-176C-9F42-B501-E5A71A6E56A8}" vid="{B2E858C6-2796-634B-90A6-48C2146A40E5}"/>
    </a:ext>
  </a:extLst>
</a:theme>
</file>

<file path=ppt/theme/theme2.xml><?xml version="1.0" encoding="utf-8"?>
<a:theme xmlns:a="http://schemas.openxmlformats.org/drawingml/2006/main" name="Kantoorthema">
  <a:themeElements>
    <a:clrScheme name="EMMA 2019">
      <a:dk1>
        <a:srgbClr val="404040"/>
      </a:dk1>
      <a:lt1>
        <a:sysClr val="window" lastClr="FFFFFF"/>
      </a:lt1>
      <a:dk2>
        <a:srgbClr val="000000"/>
      </a:dk2>
      <a:lt2>
        <a:srgbClr val="FFFFFF"/>
      </a:lt2>
      <a:accent1>
        <a:srgbClr val="E40046"/>
      </a:accent1>
      <a:accent2>
        <a:srgbClr val="FEDB00"/>
      </a:accent2>
      <a:accent3>
        <a:srgbClr val="00968F"/>
      </a:accent3>
      <a:accent4>
        <a:srgbClr val="FFA300"/>
      </a:accent4>
      <a:accent5>
        <a:srgbClr val="3F2A56"/>
      </a:accent5>
      <a:accent6>
        <a:srgbClr val="94795D"/>
      </a:accent6>
      <a:hlink>
        <a:srgbClr val="262626"/>
      </a:hlink>
      <a:folHlink>
        <a:srgbClr val="262626"/>
      </a:folHlink>
    </a:clrScheme>
    <a:fontScheme name="EMMA 2019">
      <a:majorFont>
        <a:latin typeface="Campton-Bold"/>
        <a:ea typeface=""/>
        <a:cs typeface=""/>
      </a:majorFont>
      <a:minorFont>
        <a:latin typeface="Campton-Book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EMMA 2019">
      <a:dk1>
        <a:srgbClr val="404040"/>
      </a:dk1>
      <a:lt1>
        <a:sysClr val="window" lastClr="FFFFFF"/>
      </a:lt1>
      <a:dk2>
        <a:srgbClr val="000000"/>
      </a:dk2>
      <a:lt2>
        <a:srgbClr val="FFFFFF"/>
      </a:lt2>
      <a:accent1>
        <a:srgbClr val="E40046"/>
      </a:accent1>
      <a:accent2>
        <a:srgbClr val="FEDB00"/>
      </a:accent2>
      <a:accent3>
        <a:srgbClr val="00968F"/>
      </a:accent3>
      <a:accent4>
        <a:srgbClr val="FFA300"/>
      </a:accent4>
      <a:accent5>
        <a:srgbClr val="3F2A56"/>
      </a:accent5>
      <a:accent6>
        <a:srgbClr val="94795D"/>
      </a:accent6>
      <a:hlink>
        <a:srgbClr val="262626"/>
      </a:hlink>
      <a:folHlink>
        <a:srgbClr val="262626"/>
      </a:folHlink>
    </a:clrScheme>
    <a:fontScheme name="EMMA 2019">
      <a:majorFont>
        <a:latin typeface="Campton-Bold"/>
        <a:ea typeface=""/>
        <a:cs typeface=""/>
      </a:majorFont>
      <a:minorFont>
        <a:latin typeface="Campton-Book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CDCF3CF3BDD249B1A3D3E08384D298" ma:contentTypeVersion="22" ma:contentTypeDescription="Een nieuw document maken." ma:contentTypeScope="" ma:versionID="a1806c5f85f43d784c9d1a28a58a1159">
  <xsd:schema xmlns:xsd="http://www.w3.org/2001/XMLSchema" xmlns:xs="http://www.w3.org/2001/XMLSchema" xmlns:p="http://schemas.microsoft.com/office/2006/metadata/properties" xmlns:ns2="0c362589-3dcd-45aa-aeab-5e1b4fa5bea5" xmlns:ns3="7b4c2b08-26fa-4934-ba31-bacda81f4e9f" targetNamespace="http://schemas.microsoft.com/office/2006/metadata/properties" ma:root="true" ma:fieldsID="986b425dded81933300c92203c26e5bd" ns2:_="" ns3:_="">
    <xsd:import namespace="0c362589-3dcd-45aa-aeab-5e1b4fa5bea5"/>
    <xsd:import namespace="7b4c2b08-26fa-4934-ba31-bacda81f4e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h7840c58cfbe46c897bc9cdab4e0755e" minOccurs="0"/>
                <xsd:element ref="ns3:TaxCatchAll" minOccurs="0"/>
                <xsd:element ref="ns2:g4bd3a6ba3d549af896e0ba682cc3b07" minOccurs="0"/>
                <xsd:element ref="ns2:MediaLengthInSeconds" minOccurs="0"/>
                <xsd:element ref="ns2:lcf76f155ced4ddcb4097134ff3c332f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362589-3dcd-45aa-aeab-5e1b4fa5be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description="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h7840c58cfbe46c897bc9cdab4e0755e" ma:index="21" nillable="true" ma:taxonomy="true" ma:internalName="h7840c58cfbe46c897bc9cdab4e0755e" ma:taxonomyFieldName="Tags" ma:displayName="Tags" ma:readOnly="false" ma:default="" ma:fieldId="{17840c58-cfbe-46c8-97bc-9cdab4e0755e}" ma:taxonomyMulti="true" ma:sspId="6b006fd9-1a05-4d98-a59d-325a9ebc3bee" ma:termSetId="8d1e8f43-63b8-400c-9e4c-88036f7ccf9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g4bd3a6ba3d549af896e0ba682cc3b07" ma:index="24" nillable="true" ma:taxonomy="true" ma:internalName="g4bd3a6ba3d549af896e0ba682cc3b07" ma:taxonomyFieldName="test" ma:displayName="test" ma:default="" ma:fieldId="{04bd3a6b-a3d5-49af-896e-0ba682cc3b07}" ma:sspId="6b006fd9-1a05-4d98-a59d-325a9ebc3bee" ma:termSetId="dc25f02f-b691-4cd6-970f-95e5501c2873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Afbeeldingtags" ma:readOnly="false" ma:fieldId="{5cf76f15-5ced-4ddc-b409-7134ff3c332f}" ma:taxonomyMulti="true" ma:sspId="6b006fd9-1a05-4d98-a59d-325a9ebc3be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4c2b08-26fa-4934-ba31-bacda81f4e9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1857d69-988c-4abb-a6d9-7caaa685e222}" ma:internalName="TaxCatchAll" ma:showField="CatchAllData" ma:web="7b4c2b08-26fa-4934-ba31-bacda81f4e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4bd3a6ba3d549af896e0ba682cc3b07 xmlns="0c362589-3dcd-45aa-aeab-5e1b4fa5bea5">
      <Terms xmlns="http://schemas.microsoft.com/office/infopath/2007/PartnerControls"/>
    </g4bd3a6ba3d549af896e0ba682cc3b07>
    <h7840c58cfbe46c897bc9cdab4e0755e xmlns="0c362589-3dcd-45aa-aeab-5e1b4fa5bea5">
      <Terms xmlns="http://schemas.microsoft.com/office/infopath/2007/PartnerControls"/>
    </h7840c58cfbe46c897bc9cdab4e0755e>
    <TaxCatchAll xmlns="7b4c2b08-26fa-4934-ba31-bacda81f4e9f" xsi:nil="true"/>
    <lcf76f155ced4ddcb4097134ff3c332f xmlns="0c362589-3dcd-45aa-aeab-5e1b4fa5bea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71C7A66-08B6-4686-9BC5-58D64D85A673}">
  <ds:schemaRefs>
    <ds:schemaRef ds:uri="0c362589-3dcd-45aa-aeab-5e1b4fa5bea5"/>
    <ds:schemaRef ds:uri="7b4c2b08-26fa-4934-ba31-bacda81f4e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BE5C6C-34B9-48E6-B2A3-9FF63740F26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0E7D37-59F5-45C1-BAB0-6F1DA7569FE6}">
  <ds:schemaRefs>
    <ds:schemaRef ds:uri="0c362589-3dcd-45aa-aeab-5e1b4fa5bea5"/>
    <ds:schemaRef ds:uri="7b4c2b08-26fa-4934-ba31-bacda81f4e9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EMMA</Template>
  <TotalTime>0</TotalTime>
  <Words>456</Words>
  <Application>Microsoft Office PowerPoint</Application>
  <PresentationFormat>Breedbeeld</PresentationFormat>
  <Paragraphs>105</Paragraphs>
  <Slides>16</Slides>
  <Notes>1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6" baseType="lpstr">
      <vt:lpstr>Arial</vt:lpstr>
      <vt:lpstr>Campton-Bold</vt:lpstr>
      <vt:lpstr>Campton-Book</vt:lpstr>
      <vt:lpstr>Century Gothic</vt:lpstr>
      <vt:lpstr>Corbel</vt:lpstr>
      <vt:lpstr>Gill Sans MT</vt:lpstr>
      <vt:lpstr>Lato</vt:lpstr>
      <vt:lpstr>Wingdings</vt:lpstr>
      <vt:lpstr>EMMA Corbel</vt:lpstr>
      <vt:lpstr>think-cell Slide</vt:lpstr>
      <vt:lpstr>Jongerenparticipatie</vt:lpstr>
      <vt:lpstr>PROGRAMMA  X Opening en welkom  X Be CLEAR! Aan de slag met jongerenparticipatie  X Verkenning van ondersteuningsmogelijkheden  X Afsluiting en Vervolgstappen     </vt:lpstr>
      <vt:lpstr>PowerPoint-presentatie</vt:lpstr>
      <vt:lpstr>Doelen van dit webinar</vt:lpstr>
      <vt:lpstr>Inventarisatie</vt:lpstr>
      <vt:lpstr>Be CLEAR!</vt:lpstr>
      <vt:lpstr>Reflectievragen bij de relevante factoren</vt:lpstr>
      <vt:lpstr>Relevante factoren</vt:lpstr>
      <vt:lpstr>Relevante factoren</vt:lpstr>
      <vt:lpstr>Relevante factoren</vt:lpstr>
      <vt:lpstr>Relevante factoren</vt:lpstr>
      <vt:lpstr>Relevante factoren</vt:lpstr>
      <vt:lpstr>Relevante factoren</vt:lpstr>
      <vt:lpstr>Ondersteuning bij de uitvoering</vt:lpstr>
      <vt:lpstr>Aanmelden? Simpel!</vt:lpstr>
      <vt:lpstr>Afrond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eske Strating</dc:creator>
  <cp:lastModifiedBy>Geeske Strating</cp:lastModifiedBy>
  <cp:revision>1</cp:revision>
  <dcterms:created xsi:type="dcterms:W3CDTF">2024-12-18T09:23:04Z</dcterms:created>
  <dcterms:modified xsi:type="dcterms:W3CDTF">2025-01-23T08:3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CDCF3CF3BDD249B1A3D3E08384D298</vt:lpwstr>
  </property>
  <property fmtid="{D5CDD505-2E9C-101B-9397-08002B2CF9AE}" pid="3" name="test">
    <vt:lpwstr/>
  </property>
  <property fmtid="{D5CDD505-2E9C-101B-9397-08002B2CF9AE}" pid="4" name="Tags">
    <vt:lpwstr/>
  </property>
  <property fmtid="{D5CDD505-2E9C-101B-9397-08002B2CF9AE}" pid="5" name="MediaServiceImageTags">
    <vt:lpwstr/>
  </property>
</Properties>
</file>